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mov" ContentType="video/quicktime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1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757" r:id="rId2"/>
  </p:sldMasterIdLst>
  <p:notesMasterIdLst>
    <p:notesMasterId r:id="rId4"/>
  </p:notesMasterIdLst>
  <p:sldIdLst>
    <p:sldId id="282" r:id="rId3"/>
  </p:sldIdLst>
  <p:sldSz cx="12195175" cy="6859588"/>
  <p:notesSz cx="6858000" cy="9144000"/>
  <p:defaultTextStyle>
    <a:defPPr>
      <a:defRPr lang="en-US"/>
    </a:defPPr>
    <a:lvl1pPr marL="0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44388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88776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633164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177552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721940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A0"/>
    <a:srgbClr val="0000FF"/>
    <a:srgbClr val="E5F2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5A74F01-1A80-4AB9-A63B-4C1C2AD7092E}" v="13" dt="2024-01-16T15:35:04.14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4" d="100"/>
          <a:sy n="104" d="100"/>
        </p:scale>
        <p:origin x="83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Relationship Id="rId9" Type="http://schemas.microsoft.com/office/2015/10/relationships/revisionInfo" Target="revisionInfo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4A8032-89EB-4D13-922A-D9DAB7321F09}" type="datetimeFigureOut">
              <a:rPr lang="sv-SE" smtClean="0"/>
              <a:t>2024-01-29</a:t>
            </a:fld>
            <a:endParaRPr lang="sv-S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261AA99-6AE6-4252-9D49-BFACABC8D97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181776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7999" y="1338262"/>
            <a:ext cx="5436000" cy="2472849"/>
          </a:xfrm>
        </p:spPr>
        <p:txBody>
          <a:bodyPr>
            <a:noAutofit/>
          </a:bodyPr>
          <a:lstStyle>
            <a:lvl1pPr>
              <a:defRPr sz="4000">
                <a:solidFill>
                  <a:srgbClr val="FBD9CA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4296176"/>
            <a:ext cx="5436000" cy="360083"/>
          </a:xfrm>
        </p:spPr>
        <p:txBody>
          <a:bodyPr>
            <a:noAutofit/>
          </a:bodyPr>
          <a:lstStyle>
            <a:lvl1pPr marL="0" indent="0" algn="l">
              <a:buNone/>
              <a:defRPr sz="1800" b="1">
                <a:solidFill>
                  <a:srgbClr val="FFFFFF"/>
                </a:solidFill>
                <a:latin typeface="+mj-lt"/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774548"/>
            <a:ext cx="5436000" cy="2160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rgbClr val="FFFFFF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5026548"/>
            <a:ext cx="5436000" cy="2160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rgbClr val="FFFFFF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grpSp>
        <p:nvGrpSpPr>
          <p:cNvPr id="17" name="Pulse"/>
          <p:cNvGrpSpPr/>
          <p:nvPr userDrawn="1"/>
        </p:nvGrpSpPr>
        <p:grpSpPr>
          <a:xfrm>
            <a:off x="6964846" y="941098"/>
            <a:ext cx="5232032" cy="5299513"/>
            <a:chOff x="8751888" y="3030538"/>
            <a:chExt cx="3446462" cy="3490913"/>
          </a:xfrm>
          <a:solidFill>
            <a:schemeClr val="bg2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" name="Logotype">
            <a:extLst>
              <a:ext uri="{FF2B5EF4-FFF2-40B4-BE49-F238E27FC236}">
                <a16:creationId xmlns:a16="http://schemas.microsoft.com/office/drawing/2014/main" id="{CE95415F-4583-7209-7A13-9E1CD53E4457}"/>
              </a:ext>
            </a:extLst>
          </p:cNvPr>
          <p:cNvSpPr>
            <a:spLocks noChangeAspect="1"/>
          </p:cNvSpPr>
          <p:nvPr userDrawn="1"/>
        </p:nvSpPr>
        <p:spPr>
          <a:xfrm>
            <a:off x="641350" y="530890"/>
            <a:ext cx="1386000" cy="450119"/>
          </a:xfrm>
          <a:custGeom>
            <a:avLst/>
            <a:gdLst>
              <a:gd name="connsiteX0" fmla="*/ 720090 w 1296352"/>
              <a:gd name="connsiteY0" fmla="*/ 368618 h 421005"/>
              <a:gd name="connsiteX1" fmla="*/ 711518 w 1296352"/>
              <a:gd name="connsiteY1" fmla="*/ 392431 h 421005"/>
              <a:gd name="connsiteX2" fmla="*/ 710565 w 1296352"/>
              <a:gd name="connsiteY2" fmla="*/ 394336 h 421005"/>
              <a:gd name="connsiteX3" fmla="*/ 729615 w 1296352"/>
              <a:gd name="connsiteY3" fmla="*/ 394336 h 421005"/>
              <a:gd name="connsiteX4" fmla="*/ 728663 w 1296352"/>
              <a:gd name="connsiteY4" fmla="*/ 392431 h 421005"/>
              <a:gd name="connsiteX5" fmla="*/ 720090 w 1296352"/>
              <a:gd name="connsiteY5" fmla="*/ 368618 h 421005"/>
              <a:gd name="connsiteX6" fmla="*/ 565785 w 1296352"/>
              <a:gd name="connsiteY6" fmla="*/ 368618 h 421005"/>
              <a:gd name="connsiteX7" fmla="*/ 557213 w 1296352"/>
              <a:gd name="connsiteY7" fmla="*/ 392431 h 421005"/>
              <a:gd name="connsiteX8" fmla="*/ 556260 w 1296352"/>
              <a:gd name="connsiteY8" fmla="*/ 394336 h 421005"/>
              <a:gd name="connsiteX9" fmla="*/ 575310 w 1296352"/>
              <a:gd name="connsiteY9" fmla="*/ 394336 h 421005"/>
              <a:gd name="connsiteX10" fmla="*/ 574357 w 1296352"/>
              <a:gd name="connsiteY10" fmla="*/ 392431 h 421005"/>
              <a:gd name="connsiteX11" fmla="*/ 565785 w 1296352"/>
              <a:gd name="connsiteY11" fmla="*/ 368618 h 421005"/>
              <a:gd name="connsiteX12" fmla="*/ 100012 w 1296352"/>
              <a:gd name="connsiteY12" fmla="*/ 368618 h 421005"/>
              <a:gd name="connsiteX13" fmla="*/ 91440 w 1296352"/>
              <a:gd name="connsiteY13" fmla="*/ 392431 h 421005"/>
              <a:gd name="connsiteX14" fmla="*/ 90487 w 1296352"/>
              <a:gd name="connsiteY14" fmla="*/ 394336 h 421005"/>
              <a:gd name="connsiteX15" fmla="*/ 109537 w 1296352"/>
              <a:gd name="connsiteY15" fmla="*/ 394336 h 421005"/>
              <a:gd name="connsiteX16" fmla="*/ 108585 w 1296352"/>
              <a:gd name="connsiteY16" fmla="*/ 392431 h 421005"/>
              <a:gd name="connsiteX17" fmla="*/ 100012 w 1296352"/>
              <a:gd name="connsiteY17" fmla="*/ 368618 h 421005"/>
              <a:gd name="connsiteX18" fmla="*/ 915353 w 1296352"/>
              <a:gd name="connsiteY18" fmla="*/ 356236 h 421005"/>
              <a:gd name="connsiteX19" fmla="*/ 933451 w 1296352"/>
              <a:gd name="connsiteY19" fmla="*/ 356236 h 421005"/>
              <a:gd name="connsiteX20" fmla="*/ 942976 w 1296352"/>
              <a:gd name="connsiteY20" fmla="*/ 381953 h 421005"/>
              <a:gd name="connsiteX21" fmla="*/ 950596 w 1296352"/>
              <a:gd name="connsiteY21" fmla="*/ 401956 h 421005"/>
              <a:gd name="connsiteX22" fmla="*/ 958215 w 1296352"/>
              <a:gd name="connsiteY22" fmla="*/ 381953 h 421005"/>
              <a:gd name="connsiteX23" fmla="*/ 967740 w 1296352"/>
              <a:gd name="connsiteY23" fmla="*/ 356236 h 421005"/>
              <a:gd name="connsiteX24" fmla="*/ 986790 w 1296352"/>
              <a:gd name="connsiteY24" fmla="*/ 356236 h 421005"/>
              <a:gd name="connsiteX25" fmla="*/ 986790 w 1296352"/>
              <a:gd name="connsiteY25" fmla="*/ 419101 h 421005"/>
              <a:gd name="connsiteX26" fmla="*/ 973455 w 1296352"/>
              <a:gd name="connsiteY26" fmla="*/ 419101 h 421005"/>
              <a:gd name="connsiteX27" fmla="*/ 973455 w 1296352"/>
              <a:gd name="connsiteY27" fmla="*/ 396241 h 421005"/>
              <a:gd name="connsiteX28" fmla="*/ 973455 w 1296352"/>
              <a:gd name="connsiteY28" fmla="*/ 370523 h 421005"/>
              <a:gd name="connsiteX29" fmla="*/ 963930 w 1296352"/>
              <a:gd name="connsiteY29" fmla="*/ 396241 h 421005"/>
              <a:gd name="connsiteX30" fmla="*/ 955358 w 1296352"/>
              <a:gd name="connsiteY30" fmla="*/ 419101 h 421005"/>
              <a:gd name="connsiteX31" fmla="*/ 945833 w 1296352"/>
              <a:gd name="connsiteY31" fmla="*/ 419101 h 421005"/>
              <a:gd name="connsiteX32" fmla="*/ 937260 w 1296352"/>
              <a:gd name="connsiteY32" fmla="*/ 396241 h 421005"/>
              <a:gd name="connsiteX33" fmla="*/ 927735 w 1296352"/>
              <a:gd name="connsiteY33" fmla="*/ 371476 h 421005"/>
              <a:gd name="connsiteX34" fmla="*/ 927735 w 1296352"/>
              <a:gd name="connsiteY34" fmla="*/ 397193 h 421005"/>
              <a:gd name="connsiteX35" fmla="*/ 927735 w 1296352"/>
              <a:gd name="connsiteY35" fmla="*/ 420053 h 421005"/>
              <a:gd name="connsiteX36" fmla="*/ 915353 w 1296352"/>
              <a:gd name="connsiteY36" fmla="*/ 420053 h 421005"/>
              <a:gd name="connsiteX37" fmla="*/ 445770 w 1296352"/>
              <a:gd name="connsiteY37" fmla="*/ 356236 h 421005"/>
              <a:gd name="connsiteX38" fmla="*/ 463868 w 1296352"/>
              <a:gd name="connsiteY38" fmla="*/ 356236 h 421005"/>
              <a:gd name="connsiteX39" fmla="*/ 473393 w 1296352"/>
              <a:gd name="connsiteY39" fmla="*/ 381953 h 421005"/>
              <a:gd name="connsiteX40" fmla="*/ 481013 w 1296352"/>
              <a:gd name="connsiteY40" fmla="*/ 401956 h 421005"/>
              <a:gd name="connsiteX41" fmla="*/ 488633 w 1296352"/>
              <a:gd name="connsiteY41" fmla="*/ 381953 h 421005"/>
              <a:gd name="connsiteX42" fmla="*/ 498158 w 1296352"/>
              <a:gd name="connsiteY42" fmla="*/ 356236 h 421005"/>
              <a:gd name="connsiteX43" fmla="*/ 516255 w 1296352"/>
              <a:gd name="connsiteY43" fmla="*/ 356236 h 421005"/>
              <a:gd name="connsiteX44" fmla="*/ 516255 w 1296352"/>
              <a:gd name="connsiteY44" fmla="*/ 419101 h 421005"/>
              <a:gd name="connsiteX45" fmla="*/ 502920 w 1296352"/>
              <a:gd name="connsiteY45" fmla="*/ 419101 h 421005"/>
              <a:gd name="connsiteX46" fmla="*/ 502920 w 1296352"/>
              <a:gd name="connsiteY46" fmla="*/ 396241 h 421005"/>
              <a:gd name="connsiteX47" fmla="*/ 502920 w 1296352"/>
              <a:gd name="connsiteY47" fmla="*/ 370523 h 421005"/>
              <a:gd name="connsiteX48" fmla="*/ 493395 w 1296352"/>
              <a:gd name="connsiteY48" fmla="*/ 396241 h 421005"/>
              <a:gd name="connsiteX49" fmla="*/ 484822 w 1296352"/>
              <a:gd name="connsiteY49" fmla="*/ 419101 h 421005"/>
              <a:gd name="connsiteX50" fmla="*/ 475297 w 1296352"/>
              <a:gd name="connsiteY50" fmla="*/ 419101 h 421005"/>
              <a:gd name="connsiteX51" fmla="*/ 467678 w 1296352"/>
              <a:gd name="connsiteY51" fmla="*/ 396241 h 421005"/>
              <a:gd name="connsiteX52" fmla="*/ 458153 w 1296352"/>
              <a:gd name="connsiteY52" fmla="*/ 371476 h 421005"/>
              <a:gd name="connsiteX53" fmla="*/ 458153 w 1296352"/>
              <a:gd name="connsiteY53" fmla="*/ 397193 h 421005"/>
              <a:gd name="connsiteX54" fmla="*/ 458153 w 1296352"/>
              <a:gd name="connsiteY54" fmla="*/ 420053 h 421005"/>
              <a:gd name="connsiteX55" fmla="*/ 445770 w 1296352"/>
              <a:gd name="connsiteY55" fmla="*/ 420053 h 421005"/>
              <a:gd name="connsiteX56" fmla="*/ 1158240 w 1296352"/>
              <a:gd name="connsiteY56" fmla="*/ 355283 h 421005"/>
              <a:gd name="connsiteX57" fmla="*/ 1208723 w 1296352"/>
              <a:gd name="connsiteY57" fmla="*/ 355283 h 421005"/>
              <a:gd name="connsiteX58" fmla="*/ 1208723 w 1296352"/>
              <a:gd name="connsiteY58" fmla="*/ 366713 h 421005"/>
              <a:gd name="connsiteX59" fmla="*/ 1189673 w 1296352"/>
              <a:gd name="connsiteY59" fmla="*/ 366713 h 421005"/>
              <a:gd name="connsiteX60" fmla="*/ 1189673 w 1296352"/>
              <a:gd name="connsiteY60" fmla="*/ 419101 h 421005"/>
              <a:gd name="connsiteX61" fmla="*/ 1176338 w 1296352"/>
              <a:gd name="connsiteY61" fmla="*/ 419101 h 421005"/>
              <a:gd name="connsiteX62" fmla="*/ 1176338 w 1296352"/>
              <a:gd name="connsiteY62" fmla="*/ 366713 h 421005"/>
              <a:gd name="connsiteX63" fmla="*/ 1158240 w 1296352"/>
              <a:gd name="connsiteY63" fmla="*/ 366713 h 421005"/>
              <a:gd name="connsiteX64" fmla="*/ 1084897 w 1296352"/>
              <a:gd name="connsiteY64" fmla="*/ 355283 h 421005"/>
              <a:gd name="connsiteX65" fmla="*/ 1099185 w 1296352"/>
              <a:gd name="connsiteY65" fmla="*/ 355283 h 421005"/>
              <a:gd name="connsiteX66" fmla="*/ 1113472 w 1296352"/>
              <a:gd name="connsiteY66" fmla="*/ 377191 h 421005"/>
              <a:gd name="connsiteX67" fmla="*/ 1125855 w 1296352"/>
              <a:gd name="connsiteY67" fmla="*/ 397193 h 421005"/>
              <a:gd name="connsiteX68" fmla="*/ 1125855 w 1296352"/>
              <a:gd name="connsiteY68" fmla="*/ 355283 h 421005"/>
              <a:gd name="connsiteX69" fmla="*/ 1138237 w 1296352"/>
              <a:gd name="connsiteY69" fmla="*/ 355283 h 421005"/>
              <a:gd name="connsiteX70" fmla="*/ 1138237 w 1296352"/>
              <a:gd name="connsiteY70" fmla="*/ 419101 h 421005"/>
              <a:gd name="connsiteX71" fmla="*/ 1126807 w 1296352"/>
              <a:gd name="connsiteY71" fmla="*/ 419101 h 421005"/>
              <a:gd name="connsiteX72" fmla="*/ 1111567 w 1296352"/>
              <a:gd name="connsiteY72" fmla="*/ 395288 h 421005"/>
              <a:gd name="connsiteX73" fmla="*/ 1097280 w 1296352"/>
              <a:gd name="connsiteY73" fmla="*/ 373381 h 421005"/>
              <a:gd name="connsiteX74" fmla="*/ 1097280 w 1296352"/>
              <a:gd name="connsiteY74" fmla="*/ 419101 h 421005"/>
              <a:gd name="connsiteX75" fmla="*/ 1084897 w 1296352"/>
              <a:gd name="connsiteY75" fmla="*/ 419101 h 421005"/>
              <a:gd name="connsiteX76" fmla="*/ 1013460 w 1296352"/>
              <a:gd name="connsiteY76" fmla="*/ 355283 h 421005"/>
              <a:gd name="connsiteX77" fmla="*/ 1057275 w 1296352"/>
              <a:gd name="connsiteY77" fmla="*/ 355283 h 421005"/>
              <a:gd name="connsiteX78" fmla="*/ 1057275 w 1296352"/>
              <a:gd name="connsiteY78" fmla="*/ 366713 h 421005"/>
              <a:gd name="connsiteX79" fmla="*/ 1026795 w 1296352"/>
              <a:gd name="connsiteY79" fmla="*/ 366713 h 421005"/>
              <a:gd name="connsiteX80" fmla="*/ 1026795 w 1296352"/>
              <a:gd name="connsiteY80" fmla="*/ 381001 h 421005"/>
              <a:gd name="connsiteX81" fmla="*/ 1054418 w 1296352"/>
              <a:gd name="connsiteY81" fmla="*/ 381001 h 421005"/>
              <a:gd name="connsiteX82" fmla="*/ 1054418 w 1296352"/>
              <a:gd name="connsiteY82" fmla="*/ 392431 h 421005"/>
              <a:gd name="connsiteX83" fmla="*/ 1026795 w 1296352"/>
              <a:gd name="connsiteY83" fmla="*/ 392431 h 421005"/>
              <a:gd name="connsiteX84" fmla="*/ 1026795 w 1296352"/>
              <a:gd name="connsiteY84" fmla="*/ 407671 h 421005"/>
              <a:gd name="connsiteX85" fmla="*/ 1058227 w 1296352"/>
              <a:gd name="connsiteY85" fmla="*/ 407671 h 421005"/>
              <a:gd name="connsiteX86" fmla="*/ 1058227 w 1296352"/>
              <a:gd name="connsiteY86" fmla="*/ 419101 h 421005"/>
              <a:gd name="connsiteX87" fmla="*/ 1013460 w 1296352"/>
              <a:gd name="connsiteY87" fmla="*/ 419101 h 421005"/>
              <a:gd name="connsiteX88" fmla="*/ 845820 w 1296352"/>
              <a:gd name="connsiteY88" fmla="*/ 355283 h 421005"/>
              <a:gd name="connsiteX89" fmla="*/ 889635 w 1296352"/>
              <a:gd name="connsiteY89" fmla="*/ 355283 h 421005"/>
              <a:gd name="connsiteX90" fmla="*/ 889635 w 1296352"/>
              <a:gd name="connsiteY90" fmla="*/ 366713 h 421005"/>
              <a:gd name="connsiteX91" fmla="*/ 859155 w 1296352"/>
              <a:gd name="connsiteY91" fmla="*/ 366713 h 421005"/>
              <a:gd name="connsiteX92" fmla="*/ 859155 w 1296352"/>
              <a:gd name="connsiteY92" fmla="*/ 381001 h 421005"/>
              <a:gd name="connsiteX93" fmla="*/ 886778 w 1296352"/>
              <a:gd name="connsiteY93" fmla="*/ 381001 h 421005"/>
              <a:gd name="connsiteX94" fmla="*/ 886778 w 1296352"/>
              <a:gd name="connsiteY94" fmla="*/ 392431 h 421005"/>
              <a:gd name="connsiteX95" fmla="*/ 859155 w 1296352"/>
              <a:gd name="connsiteY95" fmla="*/ 392431 h 421005"/>
              <a:gd name="connsiteX96" fmla="*/ 859155 w 1296352"/>
              <a:gd name="connsiteY96" fmla="*/ 407671 h 421005"/>
              <a:gd name="connsiteX97" fmla="*/ 890588 w 1296352"/>
              <a:gd name="connsiteY97" fmla="*/ 407671 h 421005"/>
              <a:gd name="connsiteX98" fmla="*/ 890588 w 1296352"/>
              <a:gd name="connsiteY98" fmla="*/ 419101 h 421005"/>
              <a:gd name="connsiteX99" fmla="*/ 845820 w 1296352"/>
              <a:gd name="connsiteY99" fmla="*/ 419101 h 421005"/>
              <a:gd name="connsiteX100" fmla="*/ 713423 w 1296352"/>
              <a:gd name="connsiteY100" fmla="*/ 355283 h 421005"/>
              <a:gd name="connsiteX101" fmla="*/ 729615 w 1296352"/>
              <a:gd name="connsiteY101" fmla="*/ 355283 h 421005"/>
              <a:gd name="connsiteX102" fmla="*/ 753428 w 1296352"/>
              <a:gd name="connsiteY102" fmla="*/ 419101 h 421005"/>
              <a:gd name="connsiteX103" fmla="*/ 739140 w 1296352"/>
              <a:gd name="connsiteY103" fmla="*/ 419101 h 421005"/>
              <a:gd name="connsiteX104" fmla="*/ 734378 w 1296352"/>
              <a:gd name="connsiteY104" fmla="*/ 405766 h 421005"/>
              <a:gd name="connsiteX105" fmla="*/ 707708 w 1296352"/>
              <a:gd name="connsiteY105" fmla="*/ 405766 h 421005"/>
              <a:gd name="connsiteX106" fmla="*/ 702945 w 1296352"/>
              <a:gd name="connsiteY106" fmla="*/ 419101 h 421005"/>
              <a:gd name="connsiteX107" fmla="*/ 689610 w 1296352"/>
              <a:gd name="connsiteY107" fmla="*/ 419101 h 421005"/>
              <a:gd name="connsiteX108" fmla="*/ 617220 w 1296352"/>
              <a:gd name="connsiteY108" fmla="*/ 355283 h 421005"/>
              <a:gd name="connsiteX109" fmla="*/ 631508 w 1296352"/>
              <a:gd name="connsiteY109" fmla="*/ 355283 h 421005"/>
              <a:gd name="connsiteX110" fmla="*/ 645795 w 1296352"/>
              <a:gd name="connsiteY110" fmla="*/ 377191 h 421005"/>
              <a:gd name="connsiteX111" fmla="*/ 658178 w 1296352"/>
              <a:gd name="connsiteY111" fmla="*/ 397193 h 421005"/>
              <a:gd name="connsiteX112" fmla="*/ 658178 w 1296352"/>
              <a:gd name="connsiteY112" fmla="*/ 355283 h 421005"/>
              <a:gd name="connsiteX113" fmla="*/ 670560 w 1296352"/>
              <a:gd name="connsiteY113" fmla="*/ 355283 h 421005"/>
              <a:gd name="connsiteX114" fmla="*/ 670560 w 1296352"/>
              <a:gd name="connsiteY114" fmla="*/ 419101 h 421005"/>
              <a:gd name="connsiteX115" fmla="*/ 659130 w 1296352"/>
              <a:gd name="connsiteY115" fmla="*/ 419101 h 421005"/>
              <a:gd name="connsiteX116" fmla="*/ 643890 w 1296352"/>
              <a:gd name="connsiteY116" fmla="*/ 395288 h 421005"/>
              <a:gd name="connsiteX117" fmla="*/ 629603 w 1296352"/>
              <a:gd name="connsiteY117" fmla="*/ 373381 h 421005"/>
              <a:gd name="connsiteX118" fmla="*/ 629603 w 1296352"/>
              <a:gd name="connsiteY118" fmla="*/ 419101 h 421005"/>
              <a:gd name="connsiteX119" fmla="*/ 617220 w 1296352"/>
              <a:gd name="connsiteY119" fmla="*/ 419101 h 421005"/>
              <a:gd name="connsiteX120" fmla="*/ 559118 w 1296352"/>
              <a:gd name="connsiteY120" fmla="*/ 355283 h 421005"/>
              <a:gd name="connsiteX121" fmla="*/ 575310 w 1296352"/>
              <a:gd name="connsiteY121" fmla="*/ 355283 h 421005"/>
              <a:gd name="connsiteX122" fmla="*/ 599122 w 1296352"/>
              <a:gd name="connsiteY122" fmla="*/ 419101 h 421005"/>
              <a:gd name="connsiteX123" fmla="*/ 584835 w 1296352"/>
              <a:gd name="connsiteY123" fmla="*/ 419101 h 421005"/>
              <a:gd name="connsiteX124" fmla="*/ 580072 w 1296352"/>
              <a:gd name="connsiteY124" fmla="*/ 405766 h 421005"/>
              <a:gd name="connsiteX125" fmla="*/ 553403 w 1296352"/>
              <a:gd name="connsiteY125" fmla="*/ 405766 h 421005"/>
              <a:gd name="connsiteX126" fmla="*/ 548640 w 1296352"/>
              <a:gd name="connsiteY126" fmla="*/ 419101 h 421005"/>
              <a:gd name="connsiteX127" fmla="*/ 535305 w 1296352"/>
              <a:gd name="connsiteY127" fmla="*/ 419101 h 421005"/>
              <a:gd name="connsiteX128" fmla="*/ 338137 w 1296352"/>
              <a:gd name="connsiteY128" fmla="*/ 355283 h 421005"/>
              <a:gd name="connsiteX129" fmla="*/ 388619 w 1296352"/>
              <a:gd name="connsiteY129" fmla="*/ 355283 h 421005"/>
              <a:gd name="connsiteX130" fmla="*/ 388619 w 1296352"/>
              <a:gd name="connsiteY130" fmla="*/ 366713 h 421005"/>
              <a:gd name="connsiteX131" fmla="*/ 369569 w 1296352"/>
              <a:gd name="connsiteY131" fmla="*/ 366713 h 421005"/>
              <a:gd name="connsiteX132" fmla="*/ 369569 w 1296352"/>
              <a:gd name="connsiteY132" fmla="*/ 419101 h 421005"/>
              <a:gd name="connsiteX133" fmla="*/ 356234 w 1296352"/>
              <a:gd name="connsiteY133" fmla="*/ 419101 h 421005"/>
              <a:gd name="connsiteX134" fmla="*/ 356234 w 1296352"/>
              <a:gd name="connsiteY134" fmla="*/ 366713 h 421005"/>
              <a:gd name="connsiteX135" fmla="*/ 338137 w 1296352"/>
              <a:gd name="connsiteY135" fmla="*/ 366713 h 421005"/>
              <a:gd name="connsiteX136" fmla="*/ 274320 w 1296352"/>
              <a:gd name="connsiteY136" fmla="*/ 355283 h 421005"/>
              <a:gd name="connsiteX137" fmla="*/ 318135 w 1296352"/>
              <a:gd name="connsiteY137" fmla="*/ 355283 h 421005"/>
              <a:gd name="connsiteX138" fmla="*/ 318135 w 1296352"/>
              <a:gd name="connsiteY138" fmla="*/ 366713 h 421005"/>
              <a:gd name="connsiteX139" fmla="*/ 287655 w 1296352"/>
              <a:gd name="connsiteY139" fmla="*/ 366713 h 421005"/>
              <a:gd name="connsiteX140" fmla="*/ 287655 w 1296352"/>
              <a:gd name="connsiteY140" fmla="*/ 381001 h 421005"/>
              <a:gd name="connsiteX141" fmla="*/ 315278 w 1296352"/>
              <a:gd name="connsiteY141" fmla="*/ 381001 h 421005"/>
              <a:gd name="connsiteX142" fmla="*/ 315278 w 1296352"/>
              <a:gd name="connsiteY142" fmla="*/ 392431 h 421005"/>
              <a:gd name="connsiteX143" fmla="*/ 287655 w 1296352"/>
              <a:gd name="connsiteY143" fmla="*/ 392431 h 421005"/>
              <a:gd name="connsiteX144" fmla="*/ 287655 w 1296352"/>
              <a:gd name="connsiteY144" fmla="*/ 407671 h 421005"/>
              <a:gd name="connsiteX145" fmla="*/ 319088 w 1296352"/>
              <a:gd name="connsiteY145" fmla="*/ 407671 h 421005"/>
              <a:gd name="connsiteX146" fmla="*/ 319088 w 1296352"/>
              <a:gd name="connsiteY146" fmla="*/ 419101 h 421005"/>
              <a:gd name="connsiteX147" fmla="*/ 274320 w 1296352"/>
              <a:gd name="connsiteY147" fmla="*/ 419101 h 421005"/>
              <a:gd name="connsiteX148" fmla="*/ 92393 w 1296352"/>
              <a:gd name="connsiteY148" fmla="*/ 355283 h 421005"/>
              <a:gd name="connsiteX149" fmla="*/ 108585 w 1296352"/>
              <a:gd name="connsiteY149" fmla="*/ 355283 h 421005"/>
              <a:gd name="connsiteX150" fmla="*/ 132398 w 1296352"/>
              <a:gd name="connsiteY150" fmla="*/ 419101 h 421005"/>
              <a:gd name="connsiteX151" fmla="*/ 118110 w 1296352"/>
              <a:gd name="connsiteY151" fmla="*/ 419101 h 421005"/>
              <a:gd name="connsiteX152" fmla="*/ 113348 w 1296352"/>
              <a:gd name="connsiteY152" fmla="*/ 405766 h 421005"/>
              <a:gd name="connsiteX153" fmla="*/ 86678 w 1296352"/>
              <a:gd name="connsiteY153" fmla="*/ 405766 h 421005"/>
              <a:gd name="connsiteX154" fmla="*/ 81915 w 1296352"/>
              <a:gd name="connsiteY154" fmla="*/ 419101 h 421005"/>
              <a:gd name="connsiteX155" fmla="*/ 68580 w 1296352"/>
              <a:gd name="connsiteY155" fmla="*/ 419101 h 421005"/>
              <a:gd name="connsiteX156" fmla="*/ 797242 w 1296352"/>
              <a:gd name="connsiteY156" fmla="*/ 354330 h 421005"/>
              <a:gd name="connsiteX157" fmla="*/ 818197 w 1296352"/>
              <a:gd name="connsiteY157" fmla="*/ 360998 h 421005"/>
              <a:gd name="connsiteX158" fmla="*/ 810577 w 1296352"/>
              <a:gd name="connsiteY158" fmla="*/ 370523 h 421005"/>
              <a:gd name="connsiteX159" fmla="*/ 796290 w 1296352"/>
              <a:gd name="connsiteY159" fmla="*/ 365760 h 421005"/>
              <a:gd name="connsiteX160" fmla="*/ 778192 w 1296352"/>
              <a:gd name="connsiteY160" fmla="*/ 386715 h 421005"/>
              <a:gd name="connsiteX161" fmla="*/ 796290 w 1296352"/>
              <a:gd name="connsiteY161" fmla="*/ 408623 h 421005"/>
              <a:gd name="connsiteX162" fmla="*/ 806767 w 1296352"/>
              <a:gd name="connsiteY162" fmla="*/ 405765 h 421005"/>
              <a:gd name="connsiteX163" fmla="*/ 806767 w 1296352"/>
              <a:gd name="connsiteY163" fmla="*/ 393382 h 421005"/>
              <a:gd name="connsiteX164" fmla="*/ 792480 w 1296352"/>
              <a:gd name="connsiteY164" fmla="*/ 393382 h 421005"/>
              <a:gd name="connsiteX165" fmla="*/ 792480 w 1296352"/>
              <a:gd name="connsiteY165" fmla="*/ 381953 h 421005"/>
              <a:gd name="connsiteX166" fmla="*/ 820102 w 1296352"/>
              <a:gd name="connsiteY166" fmla="*/ 381953 h 421005"/>
              <a:gd name="connsiteX167" fmla="*/ 820102 w 1296352"/>
              <a:gd name="connsiteY167" fmla="*/ 382905 h 421005"/>
              <a:gd name="connsiteX168" fmla="*/ 820102 w 1296352"/>
              <a:gd name="connsiteY168" fmla="*/ 411480 h 421005"/>
              <a:gd name="connsiteX169" fmla="*/ 796290 w 1296352"/>
              <a:gd name="connsiteY169" fmla="*/ 421005 h 421005"/>
              <a:gd name="connsiteX170" fmla="*/ 764857 w 1296352"/>
              <a:gd name="connsiteY170" fmla="*/ 387668 h 421005"/>
              <a:gd name="connsiteX171" fmla="*/ 797242 w 1296352"/>
              <a:gd name="connsiteY171" fmla="*/ 354330 h 421005"/>
              <a:gd name="connsiteX172" fmla="*/ 232411 w 1296352"/>
              <a:gd name="connsiteY172" fmla="*/ 354330 h 421005"/>
              <a:gd name="connsiteX173" fmla="*/ 253366 w 1296352"/>
              <a:gd name="connsiteY173" fmla="*/ 360998 h 421005"/>
              <a:gd name="connsiteX174" fmla="*/ 246698 w 1296352"/>
              <a:gd name="connsiteY174" fmla="*/ 370523 h 421005"/>
              <a:gd name="connsiteX175" fmla="*/ 231458 w 1296352"/>
              <a:gd name="connsiteY175" fmla="*/ 365760 h 421005"/>
              <a:gd name="connsiteX176" fmla="*/ 220981 w 1296352"/>
              <a:gd name="connsiteY176" fmla="*/ 372428 h 421005"/>
              <a:gd name="connsiteX177" fmla="*/ 234316 w 1296352"/>
              <a:gd name="connsiteY177" fmla="*/ 381000 h 421005"/>
              <a:gd name="connsiteX178" fmla="*/ 254318 w 1296352"/>
              <a:gd name="connsiteY178" fmla="*/ 400050 h 421005"/>
              <a:gd name="connsiteX179" fmla="*/ 230506 w 1296352"/>
              <a:gd name="connsiteY179" fmla="*/ 420053 h 421005"/>
              <a:gd name="connsiteX180" fmla="*/ 206693 w 1296352"/>
              <a:gd name="connsiteY180" fmla="*/ 411480 h 421005"/>
              <a:gd name="connsiteX181" fmla="*/ 213361 w 1296352"/>
              <a:gd name="connsiteY181" fmla="*/ 401955 h 421005"/>
              <a:gd name="connsiteX182" fmla="*/ 231458 w 1296352"/>
              <a:gd name="connsiteY182" fmla="*/ 408623 h 421005"/>
              <a:gd name="connsiteX183" fmla="*/ 241936 w 1296352"/>
              <a:gd name="connsiteY183" fmla="*/ 401003 h 421005"/>
              <a:gd name="connsiteX184" fmla="*/ 229553 w 1296352"/>
              <a:gd name="connsiteY184" fmla="*/ 392430 h 421005"/>
              <a:gd name="connsiteX185" fmla="*/ 208598 w 1296352"/>
              <a:gd name="connsiteY185" fmla="*/ 373380 h 421005"/>
              <a:gd name="connsiteX186" fmla="*/ 232411 w 1296352"/>
              <a:gd name="connsiteY186" fmla="*/ 354330 h 421005"/>
              <a:gd name="connsiteX187" fmla="*/ 169545 w 1296352"/>
              <a:gd name="connsiteY187" fmla="*/ 354330 h 421005"/>
              <a:gd name="connsiteX188" fmla="*/ 190500 w 1296352"/>
              <a:gd name="connsiteY188" fmla="*/ 360998 h 421005"/>
              <a:gd name="connsiteX189" fmla="*/ 183833 w 1296352"/>
              <a:gd name="connsiteY189" fmla="*/ 370523 h 421005"/>
              <a:gd name="connsiteX190" fmla="*/ 168593 w 1296352"/>
              <a:gd name="connsiteY190" fmla="*/ 365760 h 421005"/>
              <a:gd name="connsiteX191" fmla="*/ 158116 w 1296352"/>
              <a:gd name="connsiteY191" fmla="*/ 372428 h 421005"/>
              <a:gd name="connsiteX192" fmla="*/ 171450 w 1296352"/>
              <a:gd name="connsiteY192" fmla="*/ 381000 h 421005"/>
              <a:gd name="connsiteX193" fmla="*/ 191453 w 1296352"/>
              <a:gd name="connsiteY193" fmla="*/ 400050 h 421005"/>
              <a:gd name="connsiteX194" fmla="*/ 167641 w 1296352"/>
              <a:gd name="connsiteY194" fmla="*/ 420053 h 421005"/>
              <a:gd name="connsiteX195" fmla="*/ 143828 w 1296352"/>
              <a:gd name="connsiteY195" fmla="*/ 411480 h 421005"/>
              <a:gd name="connsiteX196" fmla="*/ 150495 w 1296352"/>
              <a:gd name="connsiteY196" fmla="*/ 401955 h 421005"/>
              <a:gd name="connsiteX197" fmla="*/ 168593 w 1296352"/>
              <a:gd name="connsiteY197" fmla="*/ 408623 h 421005"/>
              <a:gd name="connsiteX198" fmla="*/ 179070 w 1296352"/>
              <a:gd name="connsiteY198" fmla="*/ 401003 h 421005"/>
              <a:gd name="connsiteX199" fmla="*/ 166688 w 1296352"/>
              <a:gd name="connsiteY199" fmla="*/ 392430 h 421005"/>
              <a:gd name="connsiteX200" fmla="*/ 145733 w 1296352"/>
              <a:gd name="connsiteY200" fmla="*/ 373380 h 421005"/>
              <a:gd name="connsiteX201" fmla="*/ 169545 w 1296352"/>
              <a:gd name="connsiteY201" fmla="*/ 354330 h 421005"/>
              <a:gd name="connsiteX202" fmla="*/ 367665 w 1296352"/>
              <a:gd name="connsiteY202" fmla="*/ 101918 h 421005"/>
              <a:gd name="connsiteX203" fmla="*/ 306705 w 1296352"/>
              <a:gd name="connsiteY203" fmla="*/ 162878 h 421005"/>
              <a:gd name="connsiteX204" fmla="*/ 367665 w 1296352"/>
              <a:gd name="connsiteY204" fmla="*/ 223838 h 421005"/>
              <a:gd name="connsiteX205" fmla="*/ 428625 w 1296352"/>
              <a:gd name="connsiteY205" fmla="*/ 162878 h 421005"/>
              <a:gd name="connsiteX206" fmla="*/ 367665 w 1296352"/>
              <a:gd name="connsiteY206" fmla="*/ 101918 h 421005"/>
              <a:gd name="connsiteX207" fmla="*/ 1190625 w 1296352"/>
              <a:gd name="connsiteY207" fmla="*/ 100966 h 421005"/>
              <a:gd name="connsiteX208" fmla="*/ 1129665 w 1296352"/>
              <a:gd name="connsiteY208" fmla="*/ 169546 h 421005"/>
              <a:gd name="connsiteX209" fmla="*/ 1183005 w 1296352"/>
              <a:gd name="connsiteY209" fmla="*/ 222886 h 421005"/>
              <a:gd name="connsiteX210" fmla="*/ 1251585 w 1296352"/>
              <a:gd name="connsiteY210" fmla="*/ 165736 h 421005"/>
              <a:gd name="connsiteX211" fmla="*/ 1251585 w 1296352"/>
              <a:gd name="connsiteY211" fmla="*/ 159068 h 421005"/>
              <a:gd name="connsiteX212" fmla="*/ 1190625 w 1296352"/>
              <a:gd name="connsiteY212" fmla="*/ 100966 h 421005"/>
              <a:gd name="connsiteX213" fmla="*/ 718185 w 1296352"/>
              <a:gd name="connsiteY213" fmla="*/ 100965 h 421005"/>
              <a:gd name="connsiteX214" fmla="*/ 657225 w 1296352"/>
              <a:gd name="connsiteY214" fmla="*/ 169545 h 421005"/>
              <a:gd name="connsiteX215" fmla="*/ 710565 w 1296352"/>
              <a:gd name="connsiteY215" fmla="*/ 222885 h 421005"/>
              <a:gd name="connsiteX216" fmla="*/ 779145 w 1296352"/>
              <a:gd name="connsiteY216" fmla="*/ 165735 h 421005"/>
              <a:gd name="connsiteX217" fmla="*/ 779145 w 1296352"/>
              <a:gd name="connsiteY217" fmla="*/ 159067 h 421005"/>
              <a:gd name="connsiteX218" fmla="*/ 718185 w 1296352"/>
              <a:gd name="connsiteY218" fmla="*/ 100965 h 421005"/>
              <a:gd name="connsiteX219" fmla="*/ 962546 w 1296352"/>
              <a:gd name="connsiteY219" fmla="*/ 96694 h 421005"/>
              <a:gd name="connsiteX220" fmla="*/ 939165 w 1296352"/>
              <a:gd name="connsiteY220" fmla="*/ 100966 h 421005"/>
              <a:gd name="connsiteX221" fmla="*/ 897255 w 1296352"/>
              <a:gd name="connsiteY221" fmla="*/ 159068 h 421005"/>
              <a:gd name="connsiteX222" fmla="*/ 1012508 w 1296352"/>
              <a:gd name="connsiteY222" fmla="*/ 127636 h 421005"/>
              <a:gd name="connsiteX223" fmla="*/ 962546 w 1296352"/>
              <a:gd name="connsiteY223" fmla="*/ 96694 h 421005"/>
              <a:gd name="connsiteX224" fmla="*/ 1182052 w 1296352"/>
              <a:gd name="connsiteY224" fmla="*/ 57151 h 421005"/>
              <a:gd name="connsiteX225" fmla="*/ 1296352 w 1296352"/>
              <a:gd name="connsiteY225" fmla="*/ 165736 h 421005"/>
              <a:gd name="connsiteX226" fmla="*/ 1296352 w 1296352"/>
              <a:gd name="connsiteY226" fmla="*/ 266701 h 421005"/>
              <a:gd name="connsiteX227" fmla="*/ 1255395 w 1296352"/>
              <a:gd name="connsiteY227" fmla="*/ 266701 h 421005"/>
              <a:gd name="connsiteX228" fmla="*/ 1255395 w 1296352"/>
              <a:gd name="connsiteY228" fmla="*/ 235268 h 421005"/>
              <a:gd name="connsiteX229" fmla="*/ 1189672 w 1296352"/>
              <a:gd name="connsiteY229" fmla="*/ 269558 h 421005"/>
              <a:gd name="connsiteX230" fmla="*/ 1083945 w 1296352"/>
              <a:gd name="connsiteY230" fmla="*/ 156211 h 421005"/>
              <a:gd name="connsiteX231" fmla="*/ 1182052 w 1296352"/>
              <a:gd name="connsiteY231" fmla="*/ 57151 h 421005"/>
              <a:gd name="connsiteX232" fmla="*/ 957263 w 1296352"/>
              <a:gd name="connsiteY232" fmla="*/ 57151 h 421005"/>
              <a:gd name="connsiteX233" fmla="*/ 1065847 w 1296352"/>
              <a:gd name="connsiteY233" fmla="*/ 152401 h 421005"/>
              <a:gd name="connsiteX234" fmla="*/ 906780 w 1296352"/>
              <a:gd name="connsiteY234" fmla="*/ 196216 h 421005"/>
              <a:gd name="connsiteX235" fmla="*/ 972502 w 1296352"/>
              <a:gd name="connsiteY235" fmla="*/ 227648 h 421005"/>
              <a:gd name="connsiteX236" fmla="*/ 1018222 w 1296352"/>
              <a:gd name="connsiteY236" fmla="*/ 192406 h 421005"/>
              <a:gd name="connsiteX237" fmla="*/ 1059180 w 1296352"/>
              <a:gd name="connsiteY237" fmla="*/ 204788 h 421005"/>
              <a:gd name="connsiteX238" fmla="*/ 960120 w 1296352"/>
              <a:gd name="connsiteY238" fmla="*/ 270511 h 421005"/>
              <a:gd name="connsiteX239" fmla="*/ 853440 w 1296352"/>
              <a:gd name="connsiteY239" fmla="*/ 164783 h 421005"/>
              <a:gd name="connsiteX240" fmla="*/ 957263 w 1296352"/>
              <a:gd name="connsiteY240" fmla="*/ 57151 h 421005"/>
              <a:gd name="connsiteX241" fmla="*/ 606742 w 1296352"/>
              <a:gd name="connsiteY241" fmla="*/ 56198 h 421005"/>
              <a:gd name="connsiteX242" fmla="*/ 606742 w 1296352"/>
              <a:gd name="connsiteY242" fmla="*/ 100013 h 421005"/>
              <a:gd name="connsiteX243" fmla="*/ 547688 w 1296352"/>
              <a:gd name="connsiteY243" fmla="*/ 165736 h 421005"/>
              <a:gd name="connsiteX244" fmla="*/ 547688 w 1296352"/>
              <a:gd name="connsiteY244" fmla="*/ 265748 h 421005"/>
              <a:gd name="connsiteX245" fmla="*/ 501015 w 1296352"/>
              <a:gd name="connsiteY245" fmla="*/ 265748 h 421005"/>
              <a:gd name="connsiteX246" fmla="*/ 501015 w 1296352"/>
              <a:gd name="connsiteY246" fmla="*/ 160021 h 421005"/>
              <a:gd name="connsiteX247" fmla="*/ 501015 w 1296352"/>
              <a:gd name="connsiteY247" fmla="*/ 62866 h 421005"/>
              <a:gd name="connsiteX248" fmla="*/ 546735 w 1296352"/>
              <a:gd name="connsiteY248" fmla="*/ 62866 h 421005"/>
              <a:gd name="connsiteX249" fmla="*/ 546735 w 1296352"/>
              <a:gd name="connsiteY249" fmla="*/ 86678 h 421005"/>
              <a:gd name="connsiteX250" fmla="*/ 606742 w 1296352"/>
              <a:gd name="connsiteY250" fmla="*/ 56198 h 421005"/>
              <a:gd name="connsiteX251" fmla="*/ 367665 w 1296352"/>
              <a:gd name="connsiteY251" fmla="*/ 56198 h 421005"/>
              <a:gd name="connsiteX252" fmla="*/ 474345 w 1296352"/>
              <a:gd name="connsiteY252" fmla="*/ 162878 h 421005"/>
              <a:gd name="connsiteX253" fmla="*/ 367665 w 1296352"/>
              <a:gd name="connsiteY253" fmla="*/ 269558 h 421005"/>
              <a:gd name="connsiteX254" fmla="*/ 260985 w 1296352"/>
              <a:gd name="connsiteY254" fmla="*/ 162878 h 421005"/>
              <a:gd name="connsiteX255" fmla="*/ 367665 w 1296352"/>
              <a:gd name="connsiteY255" fmla="*/ 56198 h 421005"/>
              <a:gd name="connsiteX256" fmla="*/ 0 w 1296352"/>
              <a:gd name="connsiteY256" fmla="*/ 20956 h 421005"/>
              <a:gd name="connsiteX257" fmla="*/ 47625 w 1296352"/>
              <a:gd name="connsiteY257" fmla="*/ 20956 h 421005"/>
              <a:gd name="connsiteX258" fmla="*/ 186690 w 1296352"/>
              <a:gd name="connsiteY258" fmla="*/ 184786 h 421005"/>
              <a:gd name="connsiteX259" fmla="*/ 186690 w 1296352"/>
              <a:gd name="connsiteY259" fmla="*/ 20956 h 421005"/>
              <a:gd name="connsiteX260" fmla="*/ 233363 w 1296352"/>
              <a:gd name="connsiteY260" fmla="*/ 20956 h 421005"/>
              <a:gd name="connsiteX261" fmla="*/ 233363 w 1296352"/>
              <a:gd name="connsiteY261" fmla="*/ 266701 h 421005"/>
              <a:gd name="connsiteX262" fmla="*/ 190500 w 1296352"/>
              <a:gd name="connsiteY262" fmla="*/ 266701 h 421005"/>
              <a:gd name="connsiteX263" fmla="*/ 49530 w 1296352"/>
              <a:gd name="connsiteY263" fmla="*/ 101918 h 421005"/>
              <a:gd name="connsiteX264" fmla="*/ 49530 w 1296352"/>
              <a:gd name="connsiteY264" fmla="*/ 265748 h 421005"/>
              <a:gd name="connsiteX265" fmla="*/ 0 w 1296352"/>
              <a:gd name="connsiteY265" fmla="*/ 265748 h 421005"/>
              <a:gd name="connsiteX266" fmla="*/ 781050 w 1296352"/>
              <a:gd name="connsiteY266" fmla="*/ 0 h 421005"/>
              <a:gd name="connsiteX267" fmla="*/ 824865 w 1296352"/>
              <a:gd name="connsiteY267" fmla="*/ 0 h 421005"/>
              <a:gd name="connsiteX268" fmla="*/ 824865 w 1296352"/>
              <a:gd name="connsiteY268" fmla="*/ 160973 h 421005"/>
              <a:gd name="connsiteX269" fmla="*/ 824865 w 1296352"/>
              <a:gd name="connsiteY269" fmla="*/ 162878 h 421005"/>
              <a:gd name="connsiteX270" fmla="*/ 824865 w 1296352"/>
              <a:gd name="connsiteY270" fmla="*/ 164783 h 421005"/>
              <a:gd name="connsiteX271" fmla="*/ 824865 w 1296352"/>
              <a:gd name="connsiteY271" fmla="*/ 267653 h 421005"/>
              <a:gd name="connsiteX272" fmla="*/ 783908 w 1296352"/>
              <a:gd name="connsiteY272" fmla="*/ 267653 h 421005"/>
              <a:gd name="connsiteX273" fmla="*/ 783908 w 1296352"/>
              <a:gd name="connsiteY273" fmla="*/ 240030 h 421005"/>
              <a:gd name="connsiteX274" fmla="*/ 718185 w 1296352"/>
              <a:gd name="connsiteY274" fmla="*/ 270510 h 421005"/>
              <a:gd name="connsiteX275" fmla="*/ 612458 w 1296352"/>
              <a:gd name="connsiteY275" fmla="*/ 157163 h 421005"/>
              <a:gd name="connsiteX276" fmla="*/ 710565 w 1296352"/>
              <a:gd name="connsiteY276" fmla="*/ 58103 h 421005"/>
              <a:gd name="connsiteX277" fmla="*/ 781050 w 1296352"/>
              <a:gd name="connsiteY277" fmla="*/ 80010 h 42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</a:cxnLst>
            <a:rect l="l" t="t" r="r" b="b"/>
            <a:pathLst>
              <a:path w="1296352" h="421005">
                <a:moveTo>
                  <a:pt x="720090" y="368618"/>
                </a:moveTo>
                <a:cubicBezTo>
                  <a:pt x="717233" y="376238"/>
                  <a:pt x="714375" y="384811"/>
                  <a:pt x="711518" y="392431"/>
                </a:cubicBezTo>
                <a:lnTo>
                  <a:pt x="710565" y="394336"/>
                </a:lnTo>
                <a:lnTo>
                  <a:pt x="729615" y="394336"/>
                </a:lnTo>
                <a:lnTo>
                  <a:pt x="728663" y="392431"/>
                </a:lnTo>
                <a:cubicBezTo>
                  <a:pt x="725805" y="384811"/>
                  <a:pt x="722948" y="376238"/>
                  <a:pt x="720090" y="368618"/>
                </a:cubicBezTo>
                <a:close/>
                <a:moveTo>
                  <a:pt x="565785" y="368618"/>
                </a:moveTo>
                <a:cubicBezTo>
                  <a:pt x="562928" y="376238"/>
                  <a:pt x="560070" y="384811"/>
                  <a:pt x="557213" y="392431"/>
                </a:cubicBezTo>
                <a:lnTo>
                  <a:pt x="556260" y="394336"/>
                </a:lnTo>
                <a:lnTo>
                  <a:pt x="575310" y="394336"/>
                </a:lnTo>
                <a:lnTo>
                  <a:pt x="574357" y="392431"/>
                </a:lnTo>
                <a:cubicBezTo>
                  <a:pt x="571500" y="384811"/>
                  <a:pt x="568643" y="376238"/>
                  <a:pt x="565785" y="368618"/>
                </a:cubicBezTo>
                <a:close/>
                <a:moveTo>
                  <a:pt x="100012" y="368618"/>
                </a:moveTo>
                <a:cubicBezTo>
                  <a:pt x="97155" y="376238"/>
                  <a:pt x="94298" y="384811"/>
                  <a:pt x="91440" y="392431"/>
                </a:cubicBezTo>
                <a:lnTo>
                  <a:pt x="90487" y="394336"/>
                </a:lnTo>
                <a:lnTo>
                  <a:pt x="109537" y="394336"/>
                </a:lnTo>
                <a:lnTo>
                  <a:pt x="108585" y="392431"/>
                </a:lnTo>
                <a:cubicBezTo>
                  <a:pt x="105728" y="384811"/>
                  <a:pt x="102870" y="376238"/>
                  <a:pt x="100012" y="368618"/>
                </a:cubicBezTo>
                <a:close/>
                <a:moveTo>
                  <a:pt x="915353" y="356236"/>
                </a:moveTo>
                <a:lnTo>
                  <a:pt x="933451" y="356236"/>
                </a:lnTo>
                <a:lnTo>
                  <a:pt x="942976" y="381953"/>
                </a:lnTo>
                <a:cubicBezTo>
                  <a:pt x="945833" y="388621"/>
                  <a:pt x="947738" y="395288"/>
                  <a:pt x="950596" y="401956"/>
                </a:cubicBezTo>
                <a:cubicBezTo>
                  <a:pt x="952501" y="395288"/>
                  <a:pt x="955358" y="388621"/>
                  <a:pt x="958215" y="381953"/>
                </a:cubicBezTo>
                <a:lnTo>
                  <a:pt x="967740" y="356236"/>
                </a:lnTo>
                <a:lnTo>
                  <a:pt x="986790" y="356236"/>
                </a:lnTo>
                <a:lnTo>
                  <a:pt x="986790" y="419101"/>
                </a:lnTo>
                <a:lnTo>
                  <a:pt x="973455" y="419101"/>
                </a:lnTo>
                <a:lnTo>
                  <a:pt x="973455" y="396241"/>
                </a:lnTo>
                <a:cubicBezTo>
                  <a:pt x="973455" y="387668"/>
                  <a:pt x="973455" y="379096"/>
                  <a:pt x="973455" y="370523"/>
                </a:cubicBezTo>
                <a:cubicBezTo>
                  <a:pt x="970598" y="379096"/>
                  <a:pt x="967740" y="387668"/>
                  <a:pt x="963930" y="396241"/>
                </a:cubicBezTo>
                <a:lnTo>
                  <a:pt x="955358" y="419101"/>
                </a:lnTo>
                <a:lnTo>
                  <a:pt x="945833" y="419101"/>
                </a:lnTo>
                <a:lnTo>
                  <a:pt x="937260" y="396241"/>
                </a:lnTo>
                <a:cubicBezTo>
                  <a:pt x="934403" y="387668"/>
                  <a:pt x="930593" y="380048"/>
                  <a:pt x="927735" y="371476"/>
                </a:cubicBezTo>
                <a:cubicBezTo>
                  <a:pt x="927735" y="380048"/>
                  <a:pt x="927735" y="388621"/>
                  <a:pt x="927735" y="397193"/>
                </a:cubicBezTo>
                <a:lnTo>
                  <a:pt x="927735" y="420053"/>
                </a:lnTo>
                <a:lnTo>
                  <a:pt x="915353" y="420053"/>
                </a:lnTo>
                <a:close/>
                <a:moveTo>
                  <a:pt x="445770" y="356236"/>
                </a:moveTo>
                <a:lnTo>
                  <a:pt x="463868" y="356236"/>
                </a:lnTo>
                <a:lnTo>
                  <a:pt x="473393" y="381953"/>
                </a:lnTo>
                <a:cubicBezTo>
                  <a:pt x="476250" y="388621"/>
                  <a:pt x="478155" y="395288"/>
                  <a:pt x="481013" y="401956"/>
                </a:cubicBezTo>
                <a:cubicBezTo>
                  <a:pt x="482918" y="395288"/>
                  <a:pt x="485775" y="388621"/>
                  <a:pt x="488633" y="381953"/>
                </a:cubicBezTo>
                <a:lnTo>
                  <a:pt x="498158" y="356236"/>
                </a:lnTo>
                <a:lnTo>
                  <a:pt x="516255" y="356236"/>
                </a:lnTo>
                <a:lnTo>
                  <a:pt x="516255" y="419101"/>
                </a:lnTo>
                <a:lnTo>
                  <a:pt x="502920" y="419101"/>
                </a:lnTo>
                <a:lnTo>
                  <a:pt x="502920" y="396241"/>
                </a:lnTo>
                <a:cubicBezTo>
                  <a:pt x="502920" y="387668"/>
                  <a:pt x="502920" y="379096"/>
                  <a:pt x="502920" y="370523"/>
                </a:cubicBezTo>
                <a:cubicBezTo>
                  <a:pt x="500063" y="379096"/>
                  <a:pt x="497205" y="387668"/>
                  <a:pt x="493395" y="396241"/>
                </a:cubicBezTo>
                <a:lnTo>
                  <a:pt x="484822" y="419101"/>
                </a:lnTo>
                <a:lnTo>
                  <a:pt x="475297" y="419101"/>
                </a:lnTo>
                <a:lnTo>
                  <a:pt x="467678" y="396241"/>
                </a:lnTo>
                <a:cubicBezTo>
                  <a:pt x="464820" y="387668"/>
                  <a:pt x="461010" y="380048"/>
                  <a:pt x="458153" y="371476"/>
                </a:cubicBezTo>
                <a:cubicBezTo>
                  <a:pt x="458153" y="380048"/>
                  <a:pt x="458153" y="388621"/>
                  <a:pt x="458153" y="397193"/>
                </a:cubicBezTo>
                <a:lnTo>
                  <a:pt x="458153" y="420053"/>
                </a:lnTo>
                <a:lnTo>
                  <a:pt x="445770" y="420053"/>
                </a:lnTo>
                <a:close/>
                <a:moveTo>
                  <a:pt x="1158240" y="355283"/>
                </a:moveTo>
                <a:lnTo>
                  <a:pt x="1208723" y="355283"/>
                </a:lnTo>
                <a:lnTo>
                  <a:pt x="1208723" y="366713"/>
                </a:lnTo>
                <a:lnTo>
                  <a:pt x="1189673" y="366713"/>
                </a:lnTo>
                <a:lnTo>
                  <a:pt x="1189673" y="419101"/>
                </a:lnTo>
                <a:lnTo>
                  <a:pt x="1176338" y="419101"/>
                </a:lnTo>
                <a:lnTo>
                  <a:pt x="1176338" y="366713"/>
                </a:lnTo>
                <a:lnTo>
                  <a:pt x="1158240" y="366713"/>
                </a:lnTo>
                <a:close/>
                <a:moveTo>
                  <a:pt x="1084897" y="355283"/>
                </a:moveTo>
                <a:lnTo>
                  <a:pt x="1099185" y="355283"/>
                </a:lnTo>
                <a:lnTo>
                  <a:pt x="1113472" y="377191"/>
                </a:lnTo>
                <a:cubicBezTo>
                  <a:pt x="1119187" y="384811"/>
                  <a:pt x="1122997" y="391478"/>
                  <a:pt x="1125855" y="397193"/>
                </a:cubicBezTo>
                <a:lnTo>
                  <a:pt x="1125855" y="355283"/>
                </a:lnTo>
                <a:lnTo>
                  <a:pt x="1138237" y="355283"/>
                </a:lnTo>
                <a:lnTo>
                  <a:pt x="1138237" y="419101"/>
                </a:lnTo>
                <a:lnTo>
                  <a:pt x="1126807" y="419101"/>
                </a:lnTo>
                <a:lnTo>
                  <a:pt x="1111567" y="395288"/>
                </a:lnTo>
                <a:cubicBezTo>
                  <a:pt x="1104900" y="385763"/>
                  <a:pt x="1101089" y="379096"/>
                  <a:pt x="1097280" y="373381"/>
                </a:cubicBezTo>
                <a:lnTo>
                  <a:pt x="1097280" y="419101"/>
                </a:lnTo>
                <a:lnTo>
                  <a:pt x="1084897" y="419101"/>
                </a:lnTo>
                <a:close/>
                <a:moveTo>
                  <a:pt x="1013460" y="355283"/>
                </a:moveTo>
                <a:lnTo>
                  <a:pt x="1057275" y="355283"/>
                </a:lnTo>
                <a:lnTo>
                  <a:pt x="1057275" y="366713"/>
                </a:lnTo>
                <a:lnTo>
                  <a:pt x="1026795" y="366713"/>
                </a:lnTo>
                <a:lnTo>
                  <a:pt x="1026795" y="381001"/>
                </a:lnTo>
                <a:lnTo>
                  <a:pt x="1054418" y="381001"/>
                </a:lnTo>
                <a:lnTo>
                  <a:pt x="1054418" y="392431"/>
                </a:lnTo>
                <a:lnTo>
                  <a:pt x="1026795" y="392431"/>
                </a:lnTo>
                <a:lnTo>
                  <a:pt x="1026795" y="407671"/>
                </a:lnTo>
                <a:lnTo>
                  <a:pt x="1058227" y="407671"/>
                </a:lnTo>
                <a:lnTo>
                  <a:pt x="1058227" y="419101"/>
                </a:lnTo>
                <a:lnTo>
                  <a:pt x="1013460" y="419101"/>
                </a:lnTo>
                <a:close/>
                <a:moveTo>
                  <a:pt x="845820" y="355283"/>
                </a:moveTo>
                <a:lnTo>
                  <a:pt x="889635" y="355283"/>
                </a:lnTo>
                <a:lnTo>
                  <a:pt x="889635" y="366713"/>
                </a:lnTo>
                <a:lnTo>
                  <a:pt x="859155" y="366713"/>
                </a:lnTo>
                <a:lnTo>
                  <a:pt x="859155" y="381001"/>
                </a:lnTo>
                <a:lnTo>
                  <a:pt x="886778" y="381001"/>
                </a:lnTo>
                <a:lnTo>
                  <a:pt x="886778" y="392431"/>
                </a:lnTo>
                <a:lnTo>
                  <a:pt x="859155" y="392431"/>
                </a:lnTo>
                <a:lnTo>
                  <a:pt x="859155" y="407671"/>
                </a:lnTo>
                <a:lnTo>
                  <a:pt x="890588" y="407671"/>
                </a:lnTo>
                <a:lnTo>
                  <a:pt x="890588" y="419101"/>
                </a:lnTo>
                <a:lnTo>
                  <a:pt x="845820" y="419101"/>
                </a:lnTo>
                <a:close/>
                <a:moveTo>
                  <a:pt x="713423" y="355283"/>
                </a:moveTo>
                <a:lnTo>
                  <a:pt x="729615" y="355283"/>
                </a:lnTo>
                <a:lnTo>
                  <a:pt x="753428" y="419101"/>
                </a:lnTo>
                <a:lnTo>
                  <a:pt x="739140" y="419101"/>
                </a:lnTo>
                <a:lnTo>
                  <a:pt x="734378" y="405766"/>
                </a:lnTo>
                <a:lnTo>
                  <a:pt x="707708" y="405766"/>
                </a:lnTo>
                <a:lnTo>
                  <a:pt x="702945" y="419101"/>
                </a:lnTo>
                <a:lnTo>
                  <a:pt x="689610" y="419101"/>
                </a:lnTo>
                <a:close/>
                <a:moveTo>
                  <a:pt x="617220" y="355283"/>
                </a:moveTo>
                <a:lnTo>
                  <a:pt x="631508" y="355283"/>
                </a:lnTo>
                <a:lnTo>
                  <a:pt x="645795" y="377191"/>
                </a:lnTo>
                <a:cubicBezTo>
                  <a:pt x="651510" y="384811"/>
                  <a:pt x="655320" y="391478"/>
                  <a:pt x="658178" y="397193"/>
                </a:cubicBezTo>
                <a:lnTo>
                  <a:pt x="658178" y="355283"/>
                </a:lnTo>
                <a:lnTo>
                  <a:pt x="670560" y="355283"/>
                </a:lnTo>
                <a:lnTo>
                  <a:pt x="670560" y="419101"/>
                </a:lnTo>
                <a:lnTo>
                  <a:pt x="659130" y="419101"/>
                </a:lnTo>
                <a:lnTo>
                  <a:pt x="643890" y="395288"/>
                </a:lnTo>
                <a:cubicBezTo>
                  <a:pt x="637222" y="385763"/>
                  <a:pt x="633413" y="379096"/>
                  <a:pt x="629603" y="373381"/>
                </a:cubicBezTo>
                <a:lnTo>
                  <a:pt x="629603" y="419101"/>
                </a:lnTo>
                <a:lnTo>
                  <a:pt x="617220" y="419101"/>
                </a:lnTo>
                <a:close/>
                <a:moveTo>
                  <a:pt x="559118" y="355283"/>
                </a:moveTo>
                <a:lnTo>
                  <a:pt x="575310" y="355283"/>
                </a:lnTo>
                <a:lnTo>
                  <a:pt x="599122" y="419101"/>
                </a:lnTo>
                <a:lnTo>
                  <a:pt x="584835" y="419101"/>
                </a:lnTo>
                <a:lnTo>
                  <a:pt x="580072" y="405766"/>
                </a:lnTo>
                <a:lnTo>
                  <a:pt x="553403" y="405766"/>
                </a:lnTo>
                <a:lnTo>
                  <a:pt x="548640" y="419101"/>
                </a:lnTo>
                <a:lnTo>
                  <a:pt x="535305" y="419101"/>
                </a:lnTo>
                <a:close/>
                <a:moveTo>
                  <a:pt x="338137" y="355283"/>
                </a:moveTo>
                <a:lnTo>
                  <a:pt x="388619" y="355283"/>
                </a:lnTo>
                <a:lnTo>
                  <a:pt x="388619" y="366713"/>
                </a:lnTo>
                <a:lnTo>
                  <a:pt x="369569" y="366713"/>
                </a:lnTo>
                <a:lnTo>
                  <a:pt x="369569" y="419101"/>
                </a:lnTo>
                <a:lnTo>
                  <a:pt x="356234" y="419101"/>
                </a:lnTo>
                <a:lnTo>
                  <a:pt x="356234" y="366713"/>
                </a:lnTo>
                <a:lnTo>
                  <a:pt x="338137" y="366713"/>
                </a:lnTo>
                <a:close/>
                <a:moveTo>
                  <a:pt x="274320" y="355283"/>
                </a:moveTo>
                <a:lnTo>
                  <a:pt x="318135" y="355283"/>
                </a:lnTo>
                <a:lnTo>
                  <a:pt x="318135" y="366713"/>
                </a:lnTo>
                <a:lnTo>
                  <a:pt x="287655" y="366713"/>
                </a:lnTo>
                <a:lnTo>
                  <a:pt x="287655" y="381001"/>
                </a:lnTo>
                <a:lnTo>
                  <a:pt x="315278" y="381001"/>
                </a:lnTo>
                <a:lnTo>
                  <a:pt x="315278" y="392431"/>
                </a:lnTo>
                <a:lnTo>
                  <a:pt x="287655" y="392431"/>
                </a:lnTo>
                <a:lnTo>
                  <a:pt x="287655" y="407671"/>
                </a:lnTo>
                <a:lnTo>
                  <a:pt x="319088" y="407671"/>
                </a:lnTo>
                <a:lnTo>
                  <a:pt x="319088" y="419101"/>
                </a:lnTo>
                <a:lnTo>
                  <a:pt x="274320" y="419101"/>
                </a:lnTo>
                <a:close/>
                <a:moveTo>
                  <a:pt x="92393" y="355283"/>
                </a:moveTo>
                <a:lnTo>
                  <a:pt x="108585" y="355283"/>
                </a:lnTo>
                <a:lnTo>
                  <a:pt x="132398" y="419101"/>
                </a:lnTo>
                <a:lnTo>
                  <a:pt x="118110" y="419101"/>
                </a:lnTo>
                <a:lnTo>
                  <a:pt x="113348" y="405766"/>
                </a:lnTo>
                <a:lnTo>
                  <a:pt x="86678" y="405766"/>
                </a:lnTo>
                <a:lnTo>
                  <a:pt x="81915" y="419101"/>
                </a:lnTo>
                <a:lnTo>
                  <a:pt x="68580" y="419101"/>
                </a:lnTo>
                <a:close/>
                <a:moveTo>
                  <a:pt x="797242" y="354330"/>
                </a:moveTo>
                <a:cubicBezTo>
                  <a:pt x="805815" y="354330"/>
                  <a:pt x="813434" y="357188"/>
                  <a:pt x="818197" y="360998"/>
                </a:cubicBezTo>
                <a:lnTo>
                  <a:pt x="810577" y="370523"/>
                </a:lnTo>
                <a:cubicBezTo>
                  <a:pt x="807720" y="367665"/>
                  <a:pt x="802957" y="365760"/>
                  <a:pt x="796290" y="365760"/>
                </a:cubicBezTo>
                <a:cubicBezTo>
                  <a:pt x="782955" y="365760"/>
                  <a:pt x="778192" y="376238"/>
                  <a:pt x="778192" y="386715"/>
                </a:cubicBezTo>
                <a:cubicBezTo>
                  <a:pt x="778192" y="397193"/>
                  <a:pt x="782002" y="408623"/>
                  <a:pt x="796290" y="408623"/>
                </a:cubicBezTo>
                <a:cubicBezTo>
                  <a:pt x="801052" y="408623"/>
                  <a:pt x="803909" y="407670"/>
                  <a:pt x="806767" y="405765"/>
                </a:cubicBezTo>
                <a:lnTo>
                  <a:pt x="806767" y="393382"/>
                </a:lnTo>
                <a:lnTo>
                  <a:pt x="792480" y="393382"/>
                </a:lnTo>
                <a:lnTo>
                  <a:pt x="792480" y="381953"/>
                </a:lnTo>
                <a:lnTo>
                  <a:pt x="820102" y="381953"/>
                </a:lnTo>
                <a:lnTo>
                  <a:pt x="820102" y="382905"/>
                </a:lnTo>
                <a:lnTo>
                  <a:pt x="820102" y="411480"/>
                </a:lnTo>
                <a:cubicBezTo>
                  <a:pt x="815340" y="417195"/>
                  <a:pt x="806767" y="421005"/>
                  <a:pt x="796290" y="421005"/>
                </a:cubicBezTo>
                <a:cubicBezTo>
                  <a:pt x="777240" y="421005"/>
                  <a:pt x="764857" y="409575"/>
                  <a:pt x="764857" y="387668"/>
                </a:cubicBezTo>
                <a:cubicBezTo>
                  <a:pt x="764857" y="365760"/>
                  <a:pt x="778192" y="354330"/>
                  <a:pt x="797242" y="354330"/>
                </a:cubicBezTo>
                <a:close/>
                <a:moveTo>
                  <a:pt x="232411" y="354330"/>
                </a:moveTo>
                <a:cubicBezTo>
                  <a:pt x="241936" y="354330"/>
                  <a:pt x="249556" y="357188"/>
                  <a:pt x="253366" y="360998"/>
                </a:cubicBezTo>
                <a:lnTo>
                  <a:pt x="246698" y="370523"/>
                </a:lnTo>
                <a:cubicBezTo>
                  <a:pt x="242888" y="366713"/>
                  <a:pt x="237173" y="365760"/>
                  <a:pt x="231458" y="365760"/>
                </a:cubicBezTo>
                <a:cubicBezTo>
                  <a:pt x="224791" y="365760"/>
                  <a:pt x="220981" y="368618"/>
                  <a:pt x="220981" y="372428"/>
                </a:cubicBezTo>
                <a:cubicBezTo>
                  <a:pt x="220981" y="376238"/>
                  <a:pt x="224791" y="378143"/>
                  <a:pt x="234316" y="381000"/>
                </a:cubicBezTo>
                <a:cubicBezTo>
                  <a:pt x="247650" y="384810"/>
                  <a:pt x="254318" y="390525"/>
                  <a:pt x="254318" y="400050"/>
                </a:cubicBezTo>
                <a:cubicBezTo>
                  <a:pt x="254318" y="411480"/>
                  <a:pt x="245745" y="420053"/>
                  <a:pt x="230506" y="420053"/>
                </a:cubicBezTo>
                <a:cubicBezTo>
                  <a:pt x="220981" y="420053"/>
                  <a:pt x="211456" y="416243"/>
                  <a:pt x="206693" y="411480"/>
                </a:cubicBezTo>
                <a:lnTo>
                  <a:pt x="213361" y="401955"/>
                </a:lnTo>
                <a:cubicBezTo>
                  <a:pt x="216218" y="404813"/>
                  <a:pt x="222886" y="408623"/>
                  <a:pt x="231458" y="408623"/>
                </a:cubicBezTo>
                <a:cubicBezTo>
                  <a:pt x="238125" y="408623"/>
                  <a:pt x="241936" y="406718"/>
                  <a:pt x="241936" y="401003"/>
                </a:cubicBezTo>
                <a:cubicBezTo>
                  <a:pt x="241936" y="396240"/>
                  <a:pt x="237173" y="394335"/>
                  <a:pt x="229553" y="392430"/>
                </a:cubicBezTo>
                <a:cubicBezTo>
                  <a:pt x="215266" y="388620"/>
                  <a:pt x="208598" y="383857"/>
                  <a:pt x="208598" y="373380"/>
                </a:cubicBezTo>
                <a:cubicBezTo>
                  <a:pt x="208598" y="362903"/>
                  <a:pt x="216218" y="354330"/>
                  <a:pt x="232411" y="354330"/>
                </a:cubicBezTo>
                <a:close/>
                <a:moveTo>
                  <a:pt x="169545" y="354330"/>
                </a:moveTo>
                <a:cubicBezTo>
                  <a:pt x="179070" y="354330"/>
                  <a:pt x="186691" y="357188"/>
                  <a:pt x="190500" y="360998"/>
                </a:cubicBezTo>
                <a:lnTo>
                  <a:pt x="183833" y="370523"/>
                </a:lnTo>
                <a:cubicBezTo>
                  <a:pt x="180023" y="366713"/>
                  <a:pt x="174308" y="365760"/>
                  <a:pt x="168593" y="365760"/>
                </a:cubicBezTo>
                <a:cubicBezTo>
                  <a:pt x="161925" y="365760"/>
                  <a:pt x="158116" y="368618"/>
                  <a:pt x="158116" y="372428"/>
                </a:cubicBezTo>
                <a:cubicBezTo>
                  <a:pt x="158116" y="376238"/>
                  <a:pt x="161925" y="378143"/>
                  <a:pt x="171450" y="381000"/>
                </a:cubicBezTo>
                <a:cubicBezTo>
                  <a:pt x="184785" y="384810"/>
                  <a:pt x="191453" y="390525"/>
                  <a:pt x="191453" y="400050"/>
                </a:cubicBezTo>
                <a:cubicBezTo>
                  <a:pt x="191453" y="411480"/>
                  <a:pt x="182880" y="420053"/>
                  <a:pt x="167641" y="420053"/>
                </a:cubicBezTo>
                <a:cubicBezTo>
                  <a:pt x="158116" y="420053"/>
                  <a:pt x="148591" y="416243"/>
                  <a:pt x="143828" y="411480"/>
                </a:cubicBezTo>
                <a:lnTo>
                  <a:pt x="150495" y="401955"/>
                </a:lnTo>
                <a:cubicBezTo>
                  <a:pt x="153353" y="404813"/>
                  <a:pt x="160020" y="408623"/>
                  <a:pt x="168593" y="408623"/>
                </a:cubicBezTo>
                <a:cubicBezTo>
                  <a:pt x="175260" y="408623"/>
                  <a:pt x="179070" y="406718"/>
                  <a:pt x="179070" y="401003"/>
                </a:cubicBezTo>
                <a:cubicBezTo>
                  <a:pt x="179070" y="396240"/>
                  <a:pt x="174308" y="394335"/>
                  <a:pt x="166688" y="392430"/>
                </a:cubicBezTo>
                <a:cubicBezTo>
                  <a:pt x="152400" y="388620"/>
                  <a:pt x="145733" y="383857"/>
                  <a:pt x="145733" y="373380"/>
                </a:cubicBezTo>
                <a:cubicBezTo>
                  <a:pt x="145733" y="362903"/>
                  <a:pt x="153353" y="354330"/>
                  <a:pt x="169545" y="354330"/>
                </a:cubicBezTo>
                <a:close/>
                <a:moveTo>
                  <a:pt x="367665" y="101918"/>
                </a:moveTo>
                <a:cubicBezTo>
                  <a:pt x="334328" y="101918"/>
                  <a:pt x="306705" y="129541"/>
                  <a:pt x="306705" y="162878"/>
                </a:cubicBezTo>
                <a:cubicBezTo>
                  <a:pt x="306705" y="196216"/>
                  <a:pt x="334328" y="223838"/>
                  <a:pt x="367665" y="223838"/>
                </a:cubicBezTo>
                <a:cubicBezTo>
                  <a:pt x="401003" y="223838"/>
                  <a:pt x="428625" y="197168"/>
                  <a:pt x="428625" y="162878"/>
                </a:cubicBezTo>
                <a:cubicBezTo>
                  <a:pt x="428625" y="129541"/>
                  <a:pt x="401003" y="101918"/>
                  <a:pt x="367665" y="101918"/>
                </a:cubicBezTo>
                <a:close/>
                <a:moveTo>
                  <a:pt x="1190625" y="100966"/>
                </a:moveTo>
                <a:cubicBezTo>
                  <a:pt x="1154430" y="100966"/>
                  <a:pt x="1125855" y="132398"/>
                  <a:pt x="1129665" y="169546"/>
                </a:cubicBezTo>
                <a:cubicBezTo>
                  <a:pt x="1133475" y="197168"/>
                  <a:pt x="1155382" y="219076"/>
                  <a:pt x="1183005" y="222886"/>
                </a:cubicBezTo>
                <a:cubicBezTo>
                  <a:pt x="1219200" y="227648"/>
                  <a:pt x="1249680" y="200978"/>
                  <a:pt x="1251585" y="165736"/>
                </a:cubicBezTo>
                <a:lnTo>
                  <a:pt x="1251585" y="159068"/>
                </a:lnTo>
                <a:cubicBezTo>
                  <a:pt x="1249680" y="126683"/>
                  <a:pt x="1223010" y="100966"/>
                  <a:pt x="1190625" y="100966"/>
                </a:cubicBezTo>
                <a:close/>
                <a:moveTo>
                  <a:pt x="718185" y="100965"/>
                </a:moveTo>
                <a:cubicBezTo>
                  <a:pt x="681990" y="100965"/>
                  <a:pt x="653415" y="132398"/>
                  <a:pt x="657225" y="169545"/>
                </a:cubicBezTo>
                <a:cubicBezTo>
                  <a:pt x="661035" y="197167"/>
                  <a:pt x="682943" y="219075"/>
                  <a:pt x="710565" y="222885"/>
                </a:cubicBezTo>
                <a:cubicBezTo>
                  <a:pt x="746760" y="227648"/>
                  <a:pt x="777240" y="200978"/>
                  <a:pt x="779145" y="165735"/>
                </a:cubicBezTo>
                <a:cubicBezTo>
                  <a:pt x="779145" y="165735"/>
                  <a:pt x="779145" y="159067"/>
                  <a:pt x="779145" y="159067"/>
                </a:cubicBezTo>
                <a:cubicBezTo>
                  <a:pt x="777240" y="126683"/>
                  <a:pt x="750570" y="100965"/>
                  <a:pt x="718185" y="100965"/>
                </a:cubicBezTo>
                <a:close/>
                <a:moveTo>
                  <a:pt x="962546" y="96694"/>
                </a:moveTo>
                <a:cubicBezTo>
                  <a:pt x="955119" y="96560"/>
                  <a:pt x="947261" y="97870"/>
                  <a:pt x="939165" y="100966"/>
                </a:cubicBezTo>
                <a:cubicBezTo>
                  <a:pt x="910590" y="111443"/>
                  <a:pt x="897255" y="137161"/>
                  <a:pt x="897255" y="159068"/>
                </a:cubicBezTo>
                <a:lnTo>
                  <a:pt x="1012508" y="127636"/>
                </a:lnTo>
                <a:cubicBezTo>
                  <a:pt x="1003221" y="110491"/>
                  <a:pt x="984825" y="97096"/>
                  <a:pt x="962546" y="96694"/>
                </a:cubicBezTo>
                <a:close/>
                <a:moveTo>
                  <a:pt x="1182052" y="57151"/>
                </a:moveTo>
                <a:cubicBezTo>
                  <a:pt x="1243012" y="52388"/>
                  <a:pt x="1296352" y="99061"/>
                  <a:pt x="1296352" y="165736"/>
                </a:cubicBezTo>
                <a:lnTo>
                  <a:pt x="1296352" y="266701"/>
                </a:lnTo>
                <a:lnTo>
                  <a:pt x="1255395" y="266701"/>
                </a:lnTo>
                <a:lnTo>
                  <a:pt x="1255395" y="235268"/>
                </a:lnTo>
                <a:cubicBezTo>
                  <a:pt x="1241107" y="258128"/>
                  <a:pt x="1211580" y="269558"/>
                  <a:pt x="1189672" y="269558"/>
                </a:cubicBezTo>
                <a:cubicBezTo>
                  <a:pt x="1128712" y="269558"/>
                  <a:pt x="1080135" y="218123"/>
                  <a:pt x="1083945" y="156211"/>
                </a:cubicBezTo>
                <a:cubicBezTo>
                  <a:pt x="1087755" y="103823"/>
                  <a:pt x="1129665" y="60961"/>
                  <a:pt x="1182052" y="57151"/>
                </a:cubicBezTo>
                <a:close/>
                <a:moveTo>
                  <a:pt x="957263" y="57151"/>
                </a:moveTo>
                <a:cubicBezTo>
                  <a:pt x="1023938" y="55246"/>
                  <a:pt x="1060133" y="110491"/>
                  <a:pt x="1065847" y="152401"/>
                </a:cubicBezTo>
                <a:lnTo>
                  <a:pt x="906780" y="196216"/>
                </a:lnTo>
                <a:cubicBezTo>
                  <a:pt x="917257" y="215266"/>
                  <a:pt x="943928" y="233363"/>
                  <a:pt x="972502" y="227648"/>
                </a:cubicBezTo>
                <a:cubicBezTo>
                  <a:pt x="992505" y="223838"/>
                  <a:pt x="1010602" y="209551"/>
                  <a:pt x="1018222" y="192406"/>
                </a:cubicBezTo>
                <a:lnTo>
                  <a:pt x="1059180" y="204788"/>
                </a:lnTo>
                <a:cubicBezTo>
                  <a:pt x="1042988" y="245746"/>
                  <a:pt x="1002030" y="270511"/>
                  <a:pt x="960120" y="270511"/>
                </a:cubicBezTo>
                <a:cubicBezTo>
                  <a:pt x="900113" y="270511"/>
                  <a:pt x="853440" y="221933"/>
                  <a:pt x="853440" y="164783"/>
                </a:cubicBezTo>
                <a:cubicBezTo>
                  <a:pt x="853440" y="101918"/>
                  <a:pt x="901065" y="59056"/>
                  <a:pt x="957263" y="57151"/>
                </a:cubicBezTo>
                <a:close/>
                <a:moveTo>
                  <a:pt x="606742" y="56198"/>
                </a:moveTo>
                <a:lnTo>
                  <a:pt x="606742" y="100013"/>
                </a:lnTo>
                <a:cubicBezTo>
                  <a:pt x="575310" y="101918"/>
                  <a:pt x="547688" y="120016"/>
                  <a:pt x="547688" y="165736"/>
                </a:cubicBezTo>
                <a:cubicBezTo>
                  <a:pt x="547688" y="203836"/>
                  <a:pt x="547688" y="202883"/>
                  <a:pt x="547688" y="265748"/>
                </a:cubicBezTo>
                <a:lnTo>
                  <a:pt x="501015" y="265748"/>
                </a:lnTo>
                <a:lnTo>
                  <a:pt x="501015" y="160021"/>
                </a:lnTo>
                <a:lnTo>
                  <a:pt x="501015" y="62866"/>
                </a:lnTo>
                <a:lnTo>
                  <a:pt x="546735" y="62866"/>
                </a:lnTo>
                <a:lnTo>
                  <a:pt x="546735" y="86678"/>
                </a:lnTo>
                <a:cubicBezTo>
                  <a:pt x="553403" y="76201"/>
                  <a:pt x="566738" y="56198"/>
                  <a:pt x="606742" y="56198"/>
                </a:cubicBezTo>
                <a:close/>
                <a:moveTo>
                  <a:pt x="367665" y="56198"/>
                </a:moveTo>
                <a:cubicBezTo>
                  <a:pt x="425768" y="56198"/>
                  <a:pt x="473393" y="103823"/>
                  <a:pt x="474345" y="162878"/>
                </a:cubicBezTo>
                <a:cubicBezTo>
                  <a:pt x="474345" y="221933"/>
                  <a:pt x="426720" y="269558"/>
                  <a:pt x="367665" y="269558"/>
                </a:cubicBezTo>
                <a:cubicBezTo>
                  <a:pt x="308610" y="269558"/>
                  <a:pt x="260985" y="221933"/>
                  <a:pt x="260985" y="162878"/>
                </a:cubicBezTo>
                <a:cubicBezTo>
                  <a:pt x="260985" y="103823"/>
                  <a:pt x="308610" y="56198"/>
                  <a:pt x="367665" y="56198"/>
                </a:cubicBezTo>
                <a:close/>
                <a:moveTo>
                  <a:pt x="0" y="20956"/>
                </a:moveTo>
                <a:lnTo>
                  <a:pt x="47625" y="20956"/>
                </a:lnTo>
                <a:lnTo>
                  <a:pt x="186690" y="184786"/>
                </a:lnTo>
                <a:lnTo>
                  <a:pt x="186690" y="20956"/>
                </a:lnTo>
                <a:lnTo>
                  <a:pt x="233363" y="20956"/>
                </a:lnTo>
                <a:lnTo>
                  <a:pt x="233363" y="266701"/>
                </a:lnTo>
                <a:lnTo>
                  <a:pt x="190500" y="266701"/>
                </a:lnTo>
                <a:lnTo>
                  <a:pt x="49530" y="101918"/>
                </a:lnTo>
                <a:lnTo>
                  <a:pt x="49530" y="265748"/>
                </a:lnTo>
                <a:lnTo>
                  <a:pt x="0" y="265748"/>
                </a:lnTo>
                <a:close/>
                <a:moveTo>
                  <a:pt x="781050" y="0"/>
                </a:moveTo>
                <a:lnTo>
                  <a:pt x="824865" y="0"/>
                </a:lnTo>
                <a:lnTo>
                  <a:pt x="824865" y="160973"/>
                </a:lnTo>
                <a:cubicBezTo>
                  <a:pt x="824865" y="161925"/>
                  <a:pt x="824865" y="161925"/>
                  <a:pt x="824865" y="162878"/>
                </a:cubicBezTo>
                <a:cubicBezTo>
                  <a:pt x="824865" y="163830"/>
                  <a:pt x="824865" y="163830"/>
                  <a:pt x="824865" y="164783"/>
                </a:cubicBezTo>
                <a:lnTo>
                  <a:pt x="824865" y="267653"/>
                </a:lnTo>
                <a:lnTo>
                  <a:pt x="783908" y="267653"/>
                </a:lnTo>
                <a:lnTo>
                  <a:pt x="783908" y="240030"/>
                </a:lnTo>
                <a:cubicBezTo>
                  <a:pt x="772478" y="260033"/>
                  <a:pt x="741045" y="270510"/>
                  <a:pt x="718185" y="270510"/>
                </a:cubicBezTo>
                <a:cubicBezTo>
                  <a:pt x="657225" y="270510"/>
                  <a:pt x="608648" y="219075"/>
                  <a:pt x="612458" y="157163"/>
                </a:cubicBezTo>
                <a:cubicBezTo>
                  <a:pt x="616268" y="104775"/>
                  <a:pt x="658178" y="61913"/>
                  <a:pt x="710565" y="58103"/>
                </a:cubicBezTo>
                <a:cubicBezTo>
                  <a:pt x="738188" y="55245"/>
                  <a:pt x="770573" y="66675"/>
                  <a:pt x="781050" y="80010"/>
                </a:cubicBezTo>
                <a:close/>
              </a:path>
            </a:pathLst>
          </a:custGeom>
          <a:solidFill>
            <a:srgbClr val="FFFF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85728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Pink">
    <p:bg>
      <p:bgPr>
        <a:solidFill>
          <a:srgbClr val="FDEC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3270818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546E101-B12A-350C-C307-F9B978F274A5}"/>
              </a:ext>
            </a:extLst>
          </p:cNvPr>
          <p:cNvSpPr/>
          <p:nvPr userDrawn="1"/>
        </p:nvSpPr>
        <p:spPr>
          <a:xfrm>
            <a:off x="8189553" y="0"/>
            <a:ext cx="4010400" cy="6859588"/>
          </a:xfrm>
          <a:prstGeom prst="rect">
            <a:avLst/>
          </a:prstGeom>
          <a:solidFill>
            <a:srgbClr val="E5F2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7999" y="1332000"/>
            <a:ext cx="7200000" cy="442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24A7ADA-849C-17AB-9B33-51D812A2899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502650" y="1332000"/>
            <a:ext cx="3052763" cy="44279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9700100-9CEE-97C9-FAD1-B0EFCC9E315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02613" y="360084"/>
            <a:ext cx="3052800" cy="720000"/>
          </a:xfrm>
        </p:spPr>
        <p:txBody>
          <a:bodyPr anchor="b" anchorCtr="0"/>
          <a:lstStyle>
            <a:lvl1pPr marL="0" indent="0">
              <a:buNone/>
              <a:defRPr b="1">
                <a:latin typeface="+mj-lt"/>
              </a:defRPr>
            </a:lvl1pPr>
            <a:lvl2pPr marL="257191" indent="0">
              <a:buNone/>
              <a:defRPr b="1">
                <a:latin typeface="+mj-lt"/>
              </a:defRPr>
            </a:lvl2pPr>
            <a:lvl3pPr marL="514382" indent="0">
              <a:buNone/>
              <a:defRPr b="1">
                <a:latin typeface="+mj-lt"/>
              </a:defRPr>
            </a:lvl3pPr>
            <a:lvl4pPr marL="771574" indent="0">
              <a:buNone/>
              <a:defRPr b="1">
                <a:latin typeface="+mj-lt"/>
              </a:defRPr>
            </a:lvl4pPr>
            <a:lvl5pPr marL="1028765" indent="0">
              <a:buNone/>
              <a:defRPr b="1">
                <a:latin typeface="+mj-lt"/>
              </a:defRPr>
            </a:lvl5pPr>
          </a:lstStyle>
          <a:p>
            <a:pPr lvl="0"/>
            <a:r>
              <a:rPr lang="en-GB"/>
              <a:t>Click to add title</a:t>
            </a:r>
          </a:p>
        </p:txBody>
      </p:sp>
      <p:sp>
        <p:nvSpPr>
          <p:cNvPr id="16" name="Logotype, static">
            <a:extLst>
              <a:ext uri="{FF2B5EF4-FFF2-40B4-BE49-F238E27FC236}">
                <a16:creationId xmlns:a16="http://schemas.microsoft.com/office/drawing/2014/main" id="{657B27D4-ED75-46A9-0AD9-FAE61A5E0E87}"/>
              </a:ext>
            </a:extLst>
          </p:cNvPr>
          <p:cNvSpPr>
            <a:spLocks noChangeAspect="1"/>
          </p:cNvSpPr>
          <p:nvPr userDrawn="1"/>
        </p:nvSpPr>
        <p:spPr>
          <a:xfrm>
            <a:off x="10689559" y="6389370"/>
            <a:ext cx="864000" cy="180067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rgbClr val="0000A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4410121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60083"/>
            <a:ext cx="7200000" cy="720167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8000" y="1332000"/>
            <a:ext cx="5364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2000" y="1332000"/>
            <a:ext cx="5364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644096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60083"/>
            <a:ext cx="7200000" cy="720167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8000" y="1332000"/>
            <a:ext cx="3492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59600" y="1332000"/>
            <a:ext cx="3492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6" name="Content Placeholder 3"/>
          <p:cNvSpPr>
            <a:spLocks noGrp="1"/>
          </p:cNvSpPr>
          <p:nvPr>
            <p:ph sz="half" idx="13"/>
          </p:nvPr>
        </p:nvSpPr>
        <p:spPr>
          <a:xfrm>
            <a:off x="8067600" y="1332000"/>
            <a:ext cx="3492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888197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60083"/>
            <a:ext cx="7200000" cy="720167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8173229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21664259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and Text Box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-1" y="-1"/>
            <a:ext cx="8182879" cy="6859587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Insert image by clicking on placeholder + Images butto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503252" y="360000"/>
            <a:ext cx="3052747" cy="720000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9B1799A-498A-8A7B-92F2-75CA3D939A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502650" y="1332000"/>
            <a:ext cx="3052763" cy="442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Logotype, static">
            <a:extLst>
              <a:ext uri="{FF2B5EF4-FFF2-40B4-BE49-F238E27FC236}">
                <a16:creationId xmlns:a16="http://schemas.microsoft.com/office/drawing/2014/main" id="{C6A38777-D9B2-35D0-58CA-0DC04C032ECA}"/>
              </a:ext>
            </a:extLst>
          </p:cNvPr>
          <p:cNvSpPr>
            <a:spLocks noChangeAspect="1"/>
          </p:cNvSpPr>
          <p:nvPr userDrawn="1"/>
        </p:nvSpPr>
        <p:spPr>
          <a:xfrm>
            <a:off x="10689559" y="6389370"/>
            <a:ext cx="864000" cy="180067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2105994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and Heading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5175" cy="6859588"/>
          </a:xfrm>
          <a:noFill/>
        </p:spPr>
        <p:txBody>
          <a:bodyPr anchor="ctr" anchorCtr="0"/>
          <a:lstStyle>
            <a:lvl1pPr marL="0" indent="0" algn="ctr">
              <a:buNone/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GB"/>
              <a:t>Insert image by clicking on placeholder + Images butt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360000"/>
            <a:ext cx="7200000" cy="972000"/>
          </a:xfrm>
        </p:spPr>
        <p:txBody>
          <a:bodyPr>
            <a:noAutofit/>
          </a:bodyPr>
          <a:lstStyle>
            <a:lvl1pPr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1510482"/>
            <a:ext cx="7200000" cy="685243"/>
          </a:xfrm>
        </p:spPr>
        <p:txBody>
          <a:bodyPr>
            <a:noAutofit/>
          </a:bodyPr>
          <a:lstStyle>
            <a:lvl1pPr marL="0" indent="0" algn="l">
              <a:buNone/>
              <a:defRPr b="1">
                <a:solidFill>
                  <a:schemeClr val="accent1"/>
                </a:solidFill>
                <a:latin typeface="+mj-lt"/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Logotype, static">
            <a:extLst>
              <a:ext uri="{FF2B5EF4-FFF2-40B4-BE49-F238E27FC236}">
                <a16:creationId xmlns:a16="http://schemas.microsoft.com/office/drawing/2014/main" id="{217402D2-E40B-9ED9-450B-C9603CAF484D}"/>
              </a:ext>
            </a:extLst>
          </p:cNvPr>
          <p:cNvSpPr>
            <a:spLocks noChangeAspect="1"/>
          </p:cNvSpPr>
          <p:nvPr userDrawn="1"/>
        </p:nvSpPr>
        <p:spPr>
          <a:xfrm>
            <a:off x="10689559" y="6389370"/>
            <a:ext cx="864000" cy="180067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rgbClr val="0000A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2889395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60083"/>
            <a:ext cx="7200000" cy="720167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2000" y="1332000"/>
            <a:ext cx="5364000" cy="44316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48000" y="1332000"/>
            <a:ext cx="5364000" cy="442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Insert image by clicking on placeholder + Images button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6940792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60083"/>
            <a:ext cx="8064000" cy="720167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8000" y="1332000"/>
            <a:ext cx="5364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192000" y="1332000"/>
            <a:ext cx="5364000" cy="442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Insert image by using Nordea Image Bank button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9876918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ulse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648000" y="1339200"/>
            <a:ext cx="5436000" cy="2473200"/>
          </a:xfrm>
        </p:spPr>
        <p:txBody>
          <a:bodyPr>
            <a:noAutofit/>
          </a:bodyPr>
          <a:lstStyle>
            <a:lvl1pPr>
              <a:defRPr sz="4000">
                <a:solidFill>
                  <a:schemeClr val="accent4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648000" y="4294800"/>
            <a:ext cx="5436000" cy="360083"/>
          </a:xfrm>
        </p:spPr>
        <p:txBody>
          <a:bodyPr>
            <a:noAutofit/>
          </a:bodyPr>
          <a:lstStyle>
            <a:lvl1pPr marL="0" indent="0" algn="l">
              <a:buNone/>
              <a:defRPr sz="1800" b="1">
                <a:solidFill>
                  <a:schemeClr val="bg1"/>
                </a:solidFill>
                <a:latin typeface="+mj-lt"/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648000" y="4773600"/>
            <a:ext cx="5436000" cy="2160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648000" y="5025600"/>
            <a:ext cx="5436000" cy="2160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26425AB6-E925-98AD-F161-922D2FCEC4B1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6964845" y="941098"/>
            <a:ext cx="5232032" cy="5299513"/>
          </a:xfrm>
          <a:custGeom>
            <a:avLst/>
            <a:gdLst>
              <a:gd name="connsiteX0" fmla="*/ 5232032 w 5232032"/>
              <a:gd name="connsiteY0" fmla="*/ 2308746 h 5299513"/>
              <a:gd name="connsiteX1" fmla="*/ 5232032 w 5232032"/>
              <a:gd name="connsiteY1" fmla="*/ 2990767 h 5299513"/>
              <a:gd name="connsiteX2" fmla="*/ 5019955 w 5232032"/>
              <a:gd name="connsiteY2" fmla="*/ 2784240 h 5299513"/>
              <a:gd name="connsiteX3" fmla="*/ 5019955 w 5232032"/>
              <a:gd name="connsiteY3" fmla="*/ 2510471 h 5299513"/>
              <a:gd name="connsiteX4" fmla="*/ 5232032 w 5232032"/>
              <a:gd name="connsiteY4" fmla="*/ 2308746 h 5299513"/>
              <a:gd name="connsiteX5" fmla="*/ 201232 w 5232032"/>
              <a:gd name="connsiteY5" fmla="*/ 2308746 h 5299513"/>
              <a:gd name="connsiteX6" fmla="*/ 402465 w 5232032"/>
              <a:gd name="connsiteY6" fmla="*/ 2510471 h 5299513"/>
              <a:gd name="connsiteX7" fmla="*/ 402465 w 5232032"/>
              <a:gd name="connsiteY7" fmla="*/ 2784240 h 5299513"/>
              <a:gd name="connsiteX8" fmla="*/ 201232 w 5232032"/>
              <a:gd name="connsiteY8" fmla="*/ 2990767 h 5299513"/>
              <a:gd name="connsiteX9" fmla="*/ 0 w 5232032"/>
              <a:gd name="connsiteY9" fmla="*/ 2784240 h 5299513"/>
              <a:gd name="connsiteX10" fmla="*/ 0 w 5232032"/>
              <a:gd name="connsiteY10" fmla="*/ 2510471 h 5299513"/>
              <a:gd name="connsiteX11" fmla="*/ 201232 w 5232032"/>
              <a:gd name="connsiteY11" fmla="*/ 2308746 h 5299513"/>
              <a:gd name="connsiteX12" fmla="*/ 4416260 w 5232032"/>
              <a:gd name="connsiteY12" fmla="*/ 2275007 h 5299513"/>
              <a:gd name="connsiteX13" fmla="*/ 4757270 w 5232032"/>
              <a:gd name="connsiteY13" fmla="*/ 2615289 h 5299513"/>
              <a:gd name="connsiteX14" fmla="*/ 4757270 w 5232032"/>
              <a:gd name="connsiteY14" fmla="*/ 3631341 h 5299513"/>
              <a:gd name="connsiteX15" fmla="*/ 4416260 w 5232032"/>
              <a:gd name="connsiteY15" fmla="*/ 3971622 h 5299513"/>
              <a:gd name="connsiteX16" fmla="*/ 4075249 w 5232032"/>
              <a:gd name="connsiteY16" fmla="*/ 3631341 h 5299513"/>
              <a:gd name="connsiteX17" fmla="*/ 4075249 w 5232032"/>
              <a:gd name="connsiteY17" fmla="*/ 2615289 h 5299513"/>
              <a:gd name="connsiteX18" fmla="*/ 4416260 w 5232032"/>
              <a:gd name="connsiteY18" fmla="*/ 2275007 h 5299513"/>
              <a:gd name="connsiteX19" fmla="*/ 3308894 w 5232032"/>
              <a:gd name="connsiteY19" fmla="*/ 1494178 h 5299513"/>
              <a:gd name="connsiteX20" fmla="*/ 3735444 w 5232032"/>
              <a:gd name="connsiteY20" fmla="*/ 1915928 h 5299513"/>
              <a:gd name="connsiteX21" fmla="*/ 3735444 w 5232032"/>
              <a:gd name="connsiteY21" fmla="*/ 4872971 h 5299513"/>
              <a:gd name="connsiteX22" fmla="*/ 3308894 w 5232032"/>
              <a:gd name="connsiteY22" fmla="*/ 5299513 h 5299513"/>
              <a:gd name="connsiteX23" fmla="*/ 2887137 w 5232032"/>
              <a:gd name="connsiteY23" fmla="*/ 4872971 h 5299513"/>
              <a:gd name="connsiteX24" fmla="*/ 2887137 w 5232032"/>
              <a:gd name="connsiteY24" fmla="*/ 1915928 h 5299513"/>
              <a:gd name="connsiteX25" fmla="*/ 3308894 w 5232032"/>
              <a:gd name="connsiteY25" fmla="*/ 1494178 h 5299513"/>
              <a:gd name="connsiteX26" fmla="*/ 1015801 w 5232032"/>
              <a:gd name="connsiteY26" fmla="*/ 1323071 h 5299513"/>
              <a:gd name="connsiteX27" fmla="*/ 1356811 w 5232032"/>
              <a:gd name="connsiteY27" fmla="*/ 1663358 h 5299513"/>
              <a:gd name="connsiteX28" fmla="*/ 1356811 w 5232032"/>
              <a:gd name="connsiteY28" fmla="*/ 2684219 h 5299513"/>
              <a:gd name="connsiteX29" fmla="*/ 1015801 w 5232032"/>
              <a:gd name="connsiteY29" fmla="*/ 3024506 h 5299513"/>
              <a:gd name="connsiteX30" fmla="*/ 674790 w 5232032"/>
              <a:gd name="connsiteY30" fmla="*/ 2684219 h 5299513"/>
              <a:gd name="connsiteX31" fmla="*/ 674790 w 5232032"/>
              <a:gd name="connsiteY31" fmla="*/ 1663358 h 5299513"/>
              <a:gd name="connsiteX32" fmla="*/ 1015801 w 5232032"/>
              <a:gd name="connsiteY32" fmla="*/ 1323071 h 5299513"/>
              <a:gd name="connsiteX33" fmla="*/ 2119571 w 5232032"/>
              <a:gd name="connsiteY33" fmla="*/ 0 h 5299513"/>
              <a:gd name="connsiteX34" fmla="*/ 2547333 w 5232032"/>
              <a:gd name="connsiteY34" fmla="*/ 426543 h 5299513"/>
              <a:gd name="connsiteX35" fmla="*/ 2547333 w 5232032"/>
              <a:gd name="connsiteY35" fmla="*/ 3378793 h 5299513"/>
              <a:gd name="connsiteX36" fmla="*/ 2119571 w 5232032"/>
              <a:gd name="connsiteY36" fmla="*/ 3805335 h 5299513"/>
              <a:gd name="connsiteX37" fmla="*/ 1696615 w 5232032"/>
              <a:gd name="connsiteY37" fmla="*/ 3378793 h 5299513"/>
              <a:gd name="connsiteX38" fmla="*/ 1696615 w 5232032"/>
              <a:gd name="connsiteY38" fmla="*/ 426543 h 5299513"/>
              <a:gd name="connsiteX39" fmla="*/ 2119571 w 5232032"/>
              <a:gd name="connsiteY39" fmla="*/ 0 h 5299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5232032" h="5299513">
                <a:moveTo>
                  <a:pt x="5232032" y="2308746"/>
                </a:moveTo>
                <a:lnTo>
                  <a:pt x="5232032" y="2990767"/>
                </a:lnTo>
                <a:cubicBezTo>
                  <a:pt x="5116354" y="2990767"/>
                  <a:pt x="5019955" y="2899511"/>
                  <a:pt x="5019955" y="2784240"/>
                </a:cubicBezTo>
                <a:cubicBezTo>
                  <a:pt x="5019955" y="2784240"/>
                  <a:pt x="5019955" y="2784240"/>
                  <a:pt x="5019955" y="2510471"/>
                </a:cubicBezTo>
                <a:cubicBezTo>
                  <a:pt x="5019955" y="2400002"/>
                  <a:pt x="5116354" y="2308746"/>
                  <a:pt x="5232032" y="2308746"/>
                </a:cubicBezTo>
                <a:close/>
                <a:moveTo>
                  <a:pt x="201232" y="2308746"/>
                </a:moveTo>
                <a:cubicBezTo>
                  <a:pt x="311431" y="2308746"/>
                  <a:pt x="402465" y="2400002"/>
                  <a:pt x="402465" y="2510471"/>
                </a:cubicBezTo>
                <a:cubicBezTo>
                  <a:pt x="402465" y="2784240"/>
                  <a:pt x="402465" y="2784240"/>
                  <a:pt x="402465" y="2784240"/>
                </a:cubicBezTo>
                <a:cubicBezTo>
                  <a:pt x="402465" y="2899511"/>
                  <a:pt x="311431" y="2990767"/>
                  <a:pt x="201232" y="2990767"/>
                </a:cubicBezTo>
                <a:cubicBezTo>
                  <a:pt x="86242" y="2990767"/>
                  <a:pt x="0" y="2899511"/>
                  <a:pt x="0" y="2784240"/>
                </a:cubicBezTo>
                <a:cubicBezTo>
                  <a:pt x="0" y="2510471"/>
                  <a:pt x="0" y="2510471"/>
                  <a:pt x="0" y="2510471"/>
                </a:cubicBezTo>
                <a:cubicBezTo>
                  <a:pt x="0" y="2400002"/>
                  <a:pt x="86242" y="2308746"/>
                  <a:pt x="201232" y="2308746"/>
                </a:cubicBezTo>
                <a:close/>
                <a:moveTo>
                  <a:pt x="4416260" y="2275007"/>
                </a:moveTo>
                <a:cubicBezTo>
                  <a:pt x="4603575" y="2275007"/>
                  <a:pt x="4757270" y="2428373"/>
                  <a:pt x="4757270" y="2615289"/>
                </a:cubicBezTo>
                <a:cubicBezTo>
                  <a:pt x="4757270" y="3631341"/>
                  <a:pt x="4757270" y="3631341"/>
                  <a:pt x="4757270" y="3631341"/>
                </a:cubicBezTo>
                <a:cubicBezTo>
                  <a:pt x="4757270" y="3818256"/>
                  <a:pt x="4603575" y="3971622"/>
                  <a:pt x="4416260" y="3971622"/>
                </a:cubicBezTo>
                <a:cubicBezTo>
                  <a:pt x="4228944" y="3971622"/>
                  <a:pt x="4075249" y="3818256"/>
                  <a:pt x="4075249" y="3631341"/>
                </a:cubicBezTo>
                <a:cubicBezTo>
                  <a:pt x="4075249" y="2615289"/>
                  <a:pt x="4075249" y="2615289"/>
                  <a:pt x="4075249" y="2615289"/>
                </a:cubicBezTo>
                <a:cubicBezTo>
                  <a:pt x="4075249" y="2428373"/>
                  <a:pt x="4228944" y="2275007"/>
                  <a:pt x="4416260" y="2275007"/>
                </a:cubicBezTo>
                <a:close/>
                <a:moveTo>
                  <a:pt x="3308894" y="1494178"/>
                </a:moveTo>
                <a:cubicBezTo>
                  <a:pt x="3543736" y="1494178"/>
                  <a:pt x="3735444" y="1685883"/>
                  <a:pt x="3735444" y="1915928"/>
                </a:cubicBezTo>
                <a:cubicBezTo>
                  <a:pt x="3735444" y="4872971"/>
                  <a:pt x="3735444" y="4872971"/>
                  <a:pt x="3735444" y="4872971"/>
                </a:cubicBezTo>
                <a:cubicBezTo>
                  <a:pt x="3735444" y="5107809"/>
                  <a:pt x="3543736" y="5299513"/>
                  <a:pt x="3308894" y="5299513"/>
                </a:cubicBezTo>
                <a:cubicBezTo>
                  <a:pt x="3078845" y="5299513"/>
                  <a:pt x="2887137" y="5107809"/>
                  <a:pt x="2887137" y="4872971"/>
                </a:cubicBezTo>
                <a:cubicBezTo>
                  <a:pt x="2887137" y="1915928"/>
                  <a:pt x="2887137" y="1915928"/>
                  <a:pt x="2887137" y="1915928"/>
                </a:cubicBezTo>
                <a:cubicBezTo>
                  <a:pt x="2887137" y="1685883"/>
                  <a:pt x="3078845" y="1494178"/>
                  <a:pt x="3308894" y="1494178"/>
                </a:cubicBezTo>
                <a:close/>
                <a:moveTo>
                  <a:pt x="1015801" y="1323071"/>
                </a:moveTo>
                <a:cubicBezTo>
                  <a:pt x="1203116" y="1323071"/>
                  <a:pt x="1356811" y="1476440"/>
                  <a:pt x="1356811" y="1663358"/>
                </a:cubicBezTo>
                <a:cubicBezTo>
                  <a:pt x="1356811" y="2684219"/>
                  <a:pt x="1356811" y="2684219"/>
                  <a:pt x="1356811" y="2684219"/>
                </a:cubicBezTo>
                <a:cubicBezTo>
                  <a:pt x="1356811" y="2871137"/>
                  <a:pt x="1203116" y="3024506"/>
                  <a:pt x="1015801" y="3024506"/>
                </a:cubicBezTo>
                <a:cubicBezTo>
                  <a:pt x="828485" y="3024506"/>
                  <a:pt x="674790" y="2871137"/>
                  <a:pt x="674790" y="2684219"/>
                </a:cubicBezTo>
                <a:cubicBezTo>
                  <a:pt x="674790" y="1663358"/>
                  <a:pt x="674790" y="1663358"/>
                  <a:pt x="674790" y="1663358"/>
                </a:cubicBezTo>
                <a:cubicBezTo>
                  <a:pt x="674790" y="1476440"/>
                  <a:pt x="828485" y="1323071"/>
                  <a:pt x="1015801" y="1323071"/>
                </a:cubicBezTo>
                <a:close/>
                <a:moveTo>
                  <a:pt x="2119571" y="0"/>
                </a:moveTo>
                <a:cubicBezTo>
                  <a:pt x="2355080" y="0"/>
                  <a:pt x="2547333" y="191705"/>
                  <a:pt x="2547333" y="426543"/>
                </a:cubicBezTo>
                <a:cubicBezTo>
                  <a:pt x="2547333" y="3378793"/>
                  <a:pt x="2547333" y="3378793"/>
                  <a:pt x="2547333" y="3378793"/>
                </a:cubicBezTo>
                <a:cubicBezTo>
                  <a:pt x="2547333" y="3613631"/>
                  <a:pt x="2355080" y="3805335"/>
                  <a:pt x="2119571" y="3805335"/>
                </a:cubicBezTo>
                <a:cubicBezTo>
                  <a:pt x="1888868" y="3805335"/>
                  <a:pt x="1696615" y="3613631"/>
                  <a:pt x="1696615" y="3378793"/>
                </a:cubicBezTo>
                <a:cubicBezTo>
                  <a:pt x="1696615" y="426543"/>
                  <a:pt x="1696615" y="426543"/>
                  <a:pt x="1696615" y="426543"/>
                </a:cubicBezTo>
                <a:cubicBezTo>
                  <a:pt x="1696615" y="191705"/>
                  <a:pt x="1888868" y="0"/>
                  <a:pt x="2119571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image by clicking on placeholder + Images button</a:t>
            </a:r>
          </a:p>
        </p:txBody>
      </p:sp>
      <p:sp>
        <p:nvSpPr>
          <p:cNvPr id="4" name="Logotype">
            <a:extLst>
              <a:ext uri="{FF2B5EF4-FFF2-40B4-BE49-F238E27FC236}">
                <a16:creationId xmlns:a16="http://schemas.microsoft.com/office/drawing/2014/main" id="{FB7A02DC-C34D-9C9B-6CE9-832BF235B54B}"/>
              </a:ext>
            </a:extLst>
          </p:cNvPr>
          <p:cNvSpPr>
            <a:spLocks noChangeAspect="1"/>
          </p:cNvSpPr>
          <p:nvPr userDrawn="1"/>
        </p:nvSpPr>
        <p:spPr>
          <a:xfrm>
            <a:off x="641350" y="530890"/>
            <a:ext cx="1386000" cy="450119"/>
          </a:xfrm>
          <a:custGeom>
            <a:avLst/>
            <a:gdLst>
              <a:gd name="connsiteX0" fmla="*/ 720090 w 1296352"/>
              <a:gd name="connsiteY0" fmla="*/ 368618 h 421005"/>
              <a:gd name="connsiteX1" fmla="*/ 711518 w 1296352"/>
              <a:gd name="connsiteY1" fmla="*/ 392431 h 421005"/>
              <a:gd name="connsiteX2" fmla="*/ 710565 w 1296352"/>
              <a:gd name="connsiteY2" fmla="*/ 394336 h 421005"/>
              <a:gd name="connsiteX3" fmla="*/ 729615 w 1296352"/>
              <a:gd name="connsiteY3" fmla="*/ 394336 h 421005"/>
              <a:gd name="connsiteX4" fmla="*/ 728663 w 1296352"/>
              <a:gd name="connsiteY4" fmla="*/ 392431 h 421005"/>
              <a:gd name="connsiteX5" fmla="*/ 720090 w 1296352"/>
              <a:gd name="connsiteY5" fmla="*/ 368618 h 421005"/>
              <a:gd name="connsiteX6" fmla="*/ 565785 w 1296352"/>
              <a:gd name="connsiteY6" fmla="*/ 368618 h 421005"/>
              <a:gd name="connsiteX7" fmla="*/ 557213 w 1296352"/>
              <a:gd name="connsiteY7" fmla="*/ 392431 h 421005"/>
              <a:gd name="connsiteX8" fmla="*/ 556260 w 1296352"/>
              <a:gd name="connsiteY8" fmla="*/ 394336 h 421005"/>
              <a:gd name="connsiteX9" fmla="*/ 575310 w 1296352"/>
              <a:gd name="connsiteY9" fmla="*/ 394336 h 421005"/>
              <a:gd name="connsiteX10" fmla="*/ 574357 w 1296352"/>
              <a:gd name="connsiteY10" fmla="*/ 392431 h 421005"/>
              <a:gd name="connsiteX11" fmla="*/ 565785 w 1296352"/>
              <a:gd name="connsiteY11" fmla="*/ 368618 h 421005"/>
              <a:gd name="connsiteX12" fmla="*/ 100012 w 1296352"/>
              <a:gd name="connsiteY12" fmla="*/ 368618 h 421005"/>
              <a:gd name="connsiteX13" fmla="*/ 91440 w 1296352"/>
              <a:gd name="connsiteY13" fmla="*/ 392431 h 421005"/>
              <a:gd name="connsiteX14" fmla="*/ 90487 w 1296352"/>
              <a:gd name="connsiteY14" fmla="*/ 394336 h 421005"/>
              <a:gd name="connsiteX15" fmla="*/ 109537 w 1296352"/>
              <a:gd name="connsiteY15" fmla="*/ 394336 h 421005"/>
              <a:gd name="connsiteX16" fmla="*/ 108585 w 1296352"/>
              <a:gd name="connsiteY16" fmla="*/ 392431 h 421005"/>
              <a:gd name="connsiteX17" fmla="*/ 100012 w 1296352"/>
              <a:gd name="connsiteY17" fmla="*/ 368618 h 421005"/>
              <a:gd name="connsiteX18" fmla="*/ 915353 w 1296352"/>
              <a:gd name="connsiteY18" fmla="*/ 356236 h 421005"/>
              <a:gd name="connsiteX19" fmla="*/ 933451 w 1296352"/>
              <a:gd name="connsiteY19" fmla="*/ 356236 h 421005"/>
              <a:gd name="connsiteX20" fmla="*/ 942976 w 1296352"/>
              <a:gd name="connsiteY20" fmla="*/ 381953 h 421005"/>
              <a:gd name="connsiteX21" fmla="*/ 950596 w 1296352"/>
              <a:gd name="connsiteY21" fmla="*/ 401956 h 421005"/>
              <a:gd name="connsiteX22" fmla="*/ 958215 w 1296352"/>
              <a:gd name="connsiteY22" fmla="*/ 381953 h 421005"/>
              <a:gd name="connsiteX23" fmla="*/ 967740 w 1296352"/>
              <a:gd name="connsiteY23" fmla="*/ 356236 h 421005"/>
              <a:gd name="connsiteX24" fmla="*/ 986790 w 1296352"/>
              <a:gd name="connsiteY24" fmla="*/ 356236 h 421005"/>
              <a:gd name="connsiteX25" fmla="*/ 986790 w 1296352"/>
              <a:gd name="connsiteY25" fmla="*/ 419101 h 421005"/>
              <a:gd name="connsiteX26" fmla="*/ 973455 w 1296352"/>
              <a:gd name="connsiteY26" fmla="*/ 419101 h 421005"/>
              <a:gd name="connsiteX27" fmla="*/ 973455 w 1296352"/>
              <a:gd name="connsiteY27" fmla="*/ 396241 h 421005"/>
              <a:gd name="connsiteX28" fmla="*/ 973455 w 1296352"/>
              <a:gd name="connsiteY28" fmla="*/ 370523 h 421005"/>
              <a:gd name="connsiteX29" fmla="*/ 963930 w 1296352"/>
              <a:gd name="connsiteY29" fmla="*/ 396241 h 421005"/>
              <a:gd name="connsiteX30" fmla="*/ 955358 w 1296352"/>
              <a:gd name="connsiteY30" fmla="*/ 419101 h 421005"/>
              <a:gd name="connsiteX31" fmla="*/ 945833 w 1296352"/>
              <a:gd name="connsiteY31" fmla="*/ 419101 h 421005"/>
              <a:gd name="connsiteX32" fmla="*/ 937260 w 1296352"/>
              <a:gd name="connsiteY32" fmla="*/ 396241 h 421005"/>
              <a:gd name="connsiteX33" fmla="*/ 927735 w 1296352"/>
              <a:gd name="connsiteY33" fmla="*/ 371476 h 421005"/>
              <a:gd name="connsiteX34" fmla="*/ 927735 w 1296352"/>
              <a:gd name="connsiteY34" fmla="*/ 397193 h 421005"/>
              <a:gd name="connsiteX35" fmla="*/ 927735 w 1296352"/>
              <a:gd name="connsiteY35" fmla="*/ 420053 h 421005"/>
              <a:gd name="connsiteX36" fmla="*/ 915353 w 1296352"/>
              <a:gd name="connsiteY36" fmla="*/ 420053 h 421005"/>
              <a:gd name="connsiteX37" fmla="*/ 445770 w 1296352"/>
              <a:gd name="connsiteY37" fmla="*/ 356236 h 421005"/>
              <a:gd name="connsiteX38" fmla="*/ 463868 w 1296352"/>
              <a:gd name="connsiteY38" fmla="*/ 356236 h 421005"/>
              <a:gd name="connsiteX39" fmla="*/ 473393 w 1296352"/>
              <a:gd name="connsiteY39" fmla="*/ 381953 h 421005"/>
              <a:gd name="connsiteX40" fmla="*/ 481013 w 1296352"/>
              <a:gd name="connsiteY40" fmla="*/ 401956 h 421005"/>
              <a:gd name="connsiteX41" fmla="*/ 488633 w 1296352"/>
              <a:gd name="connsiteY41" fmla="*/ 381953 h 421005"/>
              <a:gd name="connsiteX42" fmla="*/ 498158 w 1296352"/>
              <a:gd name="connsiteY42" fmla="*/ 356236 h 421005"/>
              <a:gd name="connsiteX43" fmla="*/ 516255 w 1296352"/>
              <a:gd name="connsiteY43" fmla="*/ 356236 h 421005"/>
              <a:gd name="connsiteX44" fmla="*/ 516255 w 1296352"/>
              <a:gd name="connsiteY44" fmla="*/ 419101 h 421005"/>
              <a:gd name="connsiteX45" fmla="*/ 502920 w 1296352"/>
              <a:gd name="connsiteY45" fmla="*/ 419101 h 421005"/>
              <a:gd name="connsiteX46" fmla="*/ 502920 w 1296352"/>
              <a:gd name="connsiteY46" fmla="*/ 396241 h 421005"/>
              <a:gd name="connsiteX47" fmla="*/ 502920 w 1296352"/>
              <a:gd name="connsiteY47" fmla="*/ 370523 h 421005"/>
              <a:gd name="connsiteX48" fmla="*/ 493395 w 1296352"/>
              <a:gd name="connsiteY48" fmla="*/ 396241 h 421005"/>
              <a:gd name="connsiteX49" fmla="*/ 484822 w 1296352"/>
              <a:gd name="connsiteY49" fmla="*/ 419101 h 421005"/>
              <a:gd name="connsiteX50" fmla="*/ 475297 w 1296352"/>
              <a:gd name="connsiteY50" fmla="*/ 419101 h 421005"/>
              <a:gd name="connsiteX51" fmla="*/ 467678 w 1296352"/>
              <a:gd name="connsiteY51" fmla="*/ 396241 h 421005"/>
              <a:gd name="connsiteX52" fmla="*/ 458153 w 1296352"/>
              <a:gd name="connsiteY52" fmla="*/ 371476 h 421005"/>
              <a:gd name="connsiteX53" fmla="*/ 458153 w 1296352"/>
              <a:gd name="connsiteY53" fmla="*/ 397193 h 421005"/>
              <a:gd name="connsiteX54" fmla="*/ 458153 w 1296352"/>
              <a:gd name="connsiteY54" fmla="*/ 420053 h 421005"/>
              <a:gd name="connsiteX55" fmla="*/ 445770 w 1296352"/>
              <a:gd name="connsiteY55" fmla="*/ 420053 h 421005"/>
              <a:gd name="connsiteX56" fmla="*/ 1158240 w 1296352"/>
              <a:gd name="connsiteY56" fmla="*/ 355283 h 421005"/>
              <a:gd name="connsiteX57" fmla="*/ 1208723 w 1296352"/>
              <a:gd name="connsiteY57" fmla="*/ 355283 h 421005"/>
              <a:gd name="connsiteX58" fmla="*/ 1208723 w 1296352"/>
              <a:gd name="connsiteY58" fmla="*/ 366713 h 421005"/>
              <a:gd name="connsiteX59" fmla="*/ 1189673 w 1296352"/>
              <a:gd name="connsiteY59" fmla="*/ 366713 h 421005"/>
              <a:gd name="connsiteX60" fmla="*/ 1189673 w 1296352"/>
              <a:gd name="connsiteY60" fmla="*/ 419101 h 421005"/>
              <a:gd name="connsiteX61" fmla="*/ 1176338 w 1296352"/>
              <a:gd name="connsiteY61" fmla="*/ 419101 h 421005"/>
              <a:gd name="connsiteX62" fmla="*/ 1176338 w 1296352"/>
              <a:gd name="connsiteY62" fmla="*/ 366713 h 421005"/>
              <a:gd name="connsiteX63" fmla="*/ 1158240 w 1296352"/>
              <a:gd name="connsiteY63" fmla="*/ 366713 h 421005"/>
              <a:gd name="connsiteX64" fmla="*/ 1084897 w 1296352"/>
              <a:gd name="connsiteY64" fmla="*/ 355283 h 421005"/>
              <a:gd name="connsiteX65" fmla="*/ 1099185 w 1296352"/>
              <a:gd name="connsiteY65" fmla="*/ 355283 h 421005"/>
              <a:gd name="connsiteX66" fmla="*/ 1113472 w 1296352"/>
              <a:gd name="connsiteY66" fmla="*/ 377191 h 421005"/>
              <a:gd name="connsiteX67" fmla="*/ 1125855 w 1296352"/>
              <a:gd name="connsiteY67" fmla="*/ 397193 h 421005"/>
              <a:gd name="connsiteX68" fmla="*/ 1125855 w 1296352"/>
              <a:gd name="connsiteY68" fmla="*/ 355283 h 421005"/>
              <a:gd name="connsiteX69" fmla="*/ 1138237 w 1296352"/>
              <a:gd name="connsiteY69" fmla="*/ 355283 h 421005"/>
              <a:gd name="connsiteX70" fmla="*/ 1138237 w 1296352"/>
              <a:gd name="connsiteY70" fmla="*/ 419101 h 421005"/>
              <a:gd name="connsiteX71" fmla="*/ 1126807 w 1296352"/>
              <a:gd name="connsiteY71" fmla="*/ 419101 h 421005"/>
              <a:gd name="connsiteX72" fmla="*/ 1111567 w 1296352"/>
              <a:gd name="connsiteY72" fmla="*/ 395288 h 421005"/>
              <a:gd name="connsiteX73" fmla="*/ 1097280 w 1296352"/>
              <a:gd name="connsiteY73" fmla="*/ 373381 h 421005"/>
              <a:gd name="connsiteX74" fmla="*/ 1097280 w 1296352"/>
              <a:gd name="connsiteY74" fmla="*/ 419101 h 421005"/>
              <a:gd name="connsiteX75" fmla="*/ 1084897 w 1296352"/>
              <a:gd name="connsiteY75" fmla="*/ 419101 h 421005"/>
              <a:gd name="connsiteX76" fmla="*/ 1013460 w 1296352"/>
              <a:gd name="connsiteY76" fmla="*/ 355283 h 421005"/>
              <a:gd name="connsiteX77" fmla="*/ 1057275 w 1296352"/>
              <a:gd name="connsiteY77" fmla="*/ 355283 h 421005"/>
              <a:gd name="connsiteX78" fmla="*/ 1057275 w 1296352"/>
              <a:gd name="connsiteY78" fmla="*/ 366713 h 421005"/>
              <a:gd name="connsiteX79" fmla="*/ 1026795 w 1296352"/>
              <a:gd name="connsiteY79" fmla="*/ 366713 h 421005"/>
              <a:gd name="connsiteX80" fmla="*/ 1026795 w 1296352"/>
              <a:gd name="connsiteY80" fmla="*/ 381001 h 421005"/>
              <a:gd name="connsiteX81" fmla="*/ 1054418 w 1296352"/>
              <a:gd name="connsiteY81" fmla="*/ 381001 h 421005"/>
              <a:gd name="connsiteX82" fmla="*/ 1054418 w 1296352"/>
              <a:gd name="connsiteY82" fmla="*/ 392431 h 421005"/>
              <a:gd name="connsiteX83" fmla="*/ 1026795 w 1296352"/>
              <a:gd name="connsiteY83" fmla="*/ 392431 h 421005"/>
              <a:gd name="connsiteX84" fmla="*/ 1026795 w 1296352"/>
              <a:gd name="connsiteY84" fmla="*/ 407671 h 421005"/>
              <a:gd name="connsiteX85" fmla="*/ 1058227 w 1296352"/>
              <a:gd name="connsiteY85" fmla="*/ 407671 h 421005"/>
              <a:gd name="connsiteX86" fmla="*/ 1058227 w 1296352"/>
              <a:gd name="connsiteY86" fmla="*/ 419101 h 421005"/>
              <a:gd name="connsiteX87" fmla="*/ 1013460 w 1296352"/>
              <a:gd name="connsiteY87" fmla="*/ 419101 h 421005"/>
              <a:gd name="connsiteX88" fmla="*/ 845820 w 1296352"/>
              <a:gd name="connsiteY88" fmla="*/ 355283 h 421005"/>
              <a:gd name="connsiteX89" fmla="*/ 889635 w 1296352"/>
              <a:gd name="connsiteY89" fmla="*/ 355283 h 421005"/>
              <a:gd name="connsiteX90" fmla="*/ 889635 w 1296352"/>
              <a:gd name="connsiteY90" fmla="*/ 366713 h 421005"/>
              <a:gd name="connsiteX91" fmla="*/ 859155 w 1296352"/>
              <a:gd name="connsiteY91" fmla="*/ 366713 h 421005"/>
              <a:gd name="connsiteX92" fmla="*/ 859155 w 1296352"/>
              <a:gd name="connsiteY92" fmla="*/ 381001 h 421005"/>
              <a:gd name="connsiteX93" fmla="*/ 886778 w 1296352"/>
              <a:gd name="connsiteY93" fmla="*/ 381001 h 421005"/>
              <a:gd name="connsiteX94" fmla="*/ 886778 w 1296352"/>
              <a:gd name="connsiteY94" fmla="*/ 392431 h 421005"/>
              <a:gd name="connsiteX95" fmla="*/ 859155 w 1296352"/>
              <a:gd name="connsiteY95" fmla="*/ 392431 h 421005"/>
              <a:gd name="connsiteX96" fmla="*/ 859155 w 1296352"/>
              <a:gd name="connsiteY96" fmla="*/ 407671 h 421005"/>
              <a:gd name="connsiteX97" fmla="*/ 890588 w 1296352"/>
              <a:gd name="connsiteY97" fmla="*/ 407671 h 421005"/>
              <a:gd name="connsiteX98" fmla="*/ 890588 w 1296352"/>
              <a:gd name="connsiteY98" fmla="*/ 419101 h 421005"/>
              <a:gd name="connsiteX99" fmla="*/ 845820 w 1296352"/>
              <a:gd name="connsiteY99" fmla="*/ 419101 h 421005"/>
              <a:gd name="connsiteX100" fmla="*/ 713423 w 1296352"/>
              <a:gd name="connsiteY100" fmla="*/ 355283 h 421005"/>
              <a:gd name="connsiteX101" fmla="*/ 729615 w 1296352"/>
              <a:gd name="connsiteY101" fmla="*/ 355283 h 421005"/>
              <a:gd name="connsiteX102" fmla="*/ 753428 w 1296352"/>
              <a:gd name="connsiteY102" fmla="*/ 419101 h 421005"/>
              <a:gd name="connsiteX103" fmla="*/ 739140 w 1296352"/>
              <a:gd name="connsiteY103" fmla="*/ 419101 h 421005"/>
              <a:gd name="connsiteX104" fmla="*/ 734378 w 1296352"/>
              <a:gd name="connsiteY104" fmla="*/ 405766 h 421005"/>
              <a:gd name="connsiteX105" fmla="*/ 707708 w 1296352"/>
              <a:gd name="connsiteY105" fmla="*/ 405766 h 421005"/>
              <a:gd name="connsiteX106" fmla="*/ 702945 w 1296352"/>
              <a:gd name="connsiteY106" fmla="*/ 419101 h 421005"/>
              <a:gd name="connsiteX107" fmla="*/ 689610 w 1296352"/>
              <a:gd name="connsiteY107" fmla="*/ 419101 h 421005"/>
              <a:gd name="connsiteX108" fmla="*/ 617220 w 1296352"/>
              <a:gd name="connsiteY108" fmla="*/ 355283 h 421005"/>
              <a:gd name="connsiteX109" fmla="*/ 631508 w 1296352"/>
              <a:gd name="connsiteY109" fmla="*/ 355283 h 421005"/>
              <a:gd name="connsiteX110" fmla="*/ 645795 w 1296352"/>
              <a:gd name="connsiteY110" fmla="*/ 377191 h 421005"/>
              <a:gd name="connsiteX111" fmla="*/ 658178 w 1296352"/>
              <a:gd name="connsiteY111" fmla="*/ 397193 h 421005"/>
              <a:gd name="connsiteX112" fmla="*/ 658178 w 1296352"/>
              <a:gd name="connsiteY112" fmla="*/ 355283 h 421005"/>
              <a:gd name="connsiteX113" fmla="*/ 670560 w 1296352"/>
              <a:gd name="connsiteY113" fmla="*/ 355283 h 421005"/>
              <a:gd name="connsiteX114" fmla="*/ 670560 w 1296352"/>
              <a:gd name="connsiteY114" fmla="*/ 419101 h 421005"/>
              <a:gd name="connsiteX115" fmla="*/ 659130 w 1296352"/>
              <a:gd name="connsiteY115" fmla="*/ 419101 h 421005"/>
              <a:gd name="connsiteX116" fmla="*/ 643890 w 1296352"/>
              <a:gd name="connsiteY116" fmla="*/ 395288 h 421005"/>
              <a:gd name="connsiteX117" fmla="*/ 629603 w 1296352"/>
              <a:gd name="connsiteY117" fmla="*/ 373381 h 421005"/>
              <a:gd name="connsiteX118" fmla="*/ 629603 w 1296352"/>
              <a:gd name="connsiteY118" fmla="*/ 419101 h 421005"/>
              <a:gd name="connsiteX119" fmla="*/ 617220 w 1296352"/>
              <a:gd name="connsiteY119" fmla="*/ 419101 h 421005"/>
              <a:gd name="connsiteX120" fmla="*/ 559118 w 1296352"/>
              <a:gd name="connsiteY120" fmla="*/ 355283 h 421005"/>
              <a:gd name="connsiteX121" fmla="*/ 575310 w 1296352"/>
              <a:gd name="connsiteY121" fmla="*/ 355283 h 421005"/>
              <a:gd name="connsiteX122" fmla="*/ 599122 w 1296352"/>
              <a:gd name="connsiteY122" fmla="*/ 419101 h 421005"/>
              <a:gd name="connsiteX123" fmla="*/ 584835 w 1296352"/>
              <a:gd name="connsiteY123" fmla="*/ 419101 h 421005"/>
              <a:gd name="connsiteX124" fmla="*/ 580072 w 1296352"/>
              <a:gd name="connsiteY124" fmla="*/ 405766 h 421005"/>
              <a:gd name="connsiteX125" fmla="*/ 553403 w 1296352"/>
              <a:gd name="connsiteY125" fmla="*/ 405766 h 421005"/>
              <a:gd name="connsiteX126" fmla="*/ 548640 w 1296352"/>
              <a:gd name="connsiteY126" fmla="*/ 419101 h 421005"/>
              <a:gd name="connsiteX127" fmla="*/ 535305 w 1296352"/>
              <a:gd name="connsiteY127" fmla="*/ 419101 h 421005"/>
              <a:gd name="connsiteX128" fmla="*/ 338137 w 1296352"/>
              <a:gd name="connsiteY128" fmla="*/ 355283 h 421005"/>
              <a:gd name="connsiteX129" fmla="*/ 388619 w 1296352"/>
              <a:gd name="connsiteY129" fmla="*/ 355283 h 421005"/>
              <a:gd name="connsiteX130" fmla="*/ 388619 w 1296352"/>
              <a:gd name="connsiteY130" fmla="*/ 366713 h 421005"/>
              <a:gd name="connsiteX131" fmla="*/ 369569 w 1296352"/>
              <a:gd name="connsiteY131" fmla="*/ 366713 h 421005"/>
              <a:gd name="connsiteX132" fmla="*/ 369569 w 1296352"/>
              <a:gd name="connsiteY132" fmla="*/ 419101 h 421005"/>
              <a:gd name="connsiteX133" fmla="*/ 356234 w 1296352"/>
              <a:gd name="connsiteY133" fmla="*/ 419101 h 421005"/>
              <a:gd name="connsiteX134" fmla="*/ 356234 w 1296352"/>
              <a:gd name="connsiteY134" fmla="*/ 366713 h 421005"/>
              <a:gd name="connsiteX135" fmla="*/ 338137 w 1296352"/>
              <a:gd name="connsiteY135" fmla="*/ 366713 h 421005"/>
              <a:gd name="connsiteX136" fmla="*/ 274320 w 1296352"/>
              <a:gd name="connsiteY136" fmla="*/ 355283 h 421005"/>
              <a:gd name="connsiteX137" fmla="*/ 318135 w 1296352"/>
              <a:gd name="connsiteY137" fmla="*/ 355283 h 421005"/>
              <a:gd name="connsiteX138" fmla="*/ 318135 w 1296352"/>
              <a:gd name="connsiteY138" fmla="*/ 366713 h 421005"/>
              <a:gd name="connsiteX139" fmla="*/ 287655 w 1296352"/>
              <a:gd name="connsiteY139" fmla="*/ 366713 h 421005"/>
              <a:gd name="connsiteX140" fmla="*/ 287655 w 1296352"/>
              <a:gd name="connsiteY140" fmla="*/ 381001 h 421005"/>
              <a:gd name="connsiteX141" fmla="*/ 315278 w 1296352"/>
              <a:gd name="connsiteY141" fmla="*/ 381001 h 421005"/>
              <a:gd name="connsiteX142" fmla="*/ 315278 w 1296352"/>
              <a:gd name="connsiteY142" fmla="*/ 392431 h 421005"/>
              <a:gd name="connsiteX143" fmla="*/ 287655 w 1296352"/>
              <a:gd name="connsiteY143" fmla="*/ 392431 h 421005"/>
              <a:gd name="connsiteX144" fmla="*/ 287655 w 1296352"/>
              <a:gd name="connsiteY144" fmla="*/ 407671 h 421005"/>
              <a:gd name="connsiteX145" fmla="*/ 319088 w 1296352"/>
              <a:gd name="connsiteY145" fmla="*/ 407671 h 421005"/>
              <a:gd name="connsiteX146" fmla="*/ 319088 w 1296352"/>
              <a:gd name="connsiteY146" fmla="*/ 419101 h 421005"/>
              <a:gd name="connsiteX147" fmla="*/ 274320 w 1296352"/>
              <a:gd name="connsiteY147" fmla="*/ 419101 h 421005"/>
              <a:gd name="connsiteX148" fmla="*/ 92393 w 1296352"/>
              <a:gd name="connsiteY148" fmla="*/ 355283 h 421005"/>
              <a:gd name="connsiteX149" fmla="*/ 108585 w 1296352"/>
              <a:gd name="connsiteY149" fmla="*/ 355283 h 421005"/>
              <a:gd name="connsiteX150" fmla="*/ 132398 w 1296352"/>
              <a:gd name="connsiteY150" fmla="*/ 419101 h 421005"/>
              <a:gd name="connsiteX151" fmla="*/ 118110 w 1296352"/>
              <a:gd name="connsiteY151" fmla="*/ 419101 h 421005"/>
              <a:gd name="connsiteX152" fmla="*/ 113348 w 1296352"/>
              <a:gd name="connsiteY152" fmla="*/ 405766 h 421005"/>
              <a:gd name="connsiteX153" fmla="*/ 86678 w 1296352"/>
              <a:gd name="connsiteY153" fmla="*/ 405766 h 421005"/>
              <a:gd name="connsiteX154" fmla="*/ 81915 w 1296352"/>
              <a:gd name="connsiteY154" fmla="*/ 419101 h 421005"/>
              <a:gd name="connsiteX155" fmla="*/ 68580 w 1296352"/>
              <a:gd name="connsiteY155" fmla="*/ 419101 h 421005"/>
              <a:gd name="connsiteX156" fmla="*/ 797242 w 1296352"/>
              <a:gd name="connsiteY156" fmla="*/ 354330 h 421005"/>
              <a:gd name="connsiteX157" fmla="*/ 818197 w 1296352"/>
              <a:gd name="connsiteY157" fmla="*/ 360998 h 421005"/>
              <a:gd name="connsiteX158" fmla="*/ 810577 w 1296352"/>
              <a:gd name="connsiteY158" fmla="*/ 370523 h 421005"/>
              <a:gd name="connsiteX159" fmla="*/ 796290 w 1296352"/>
              <a:gd name="connsiteY159" fmla="*/ 365760 h 421005"/>
              <a:gd name="connsiteX160" fmla="*/ 778192 w 1296352"/>
              <a:gd name="connsiteY160" fmla="*/ 386715 h 421005"/>
              <a:gd name="connsiteX161" fmla="*/ 796290 w 1296352"/>
              <a:gd name="connsiteY161" fmla="*/ 408623 h 421005"/>
              <a:gd name="connsiteX162" fmla="*/ 806767 w 1296352"/>
              <a:gd name="connsiteY162" fmla="*/ 405765 h 421005"/>
              <a:gd name="connsiteX163" fmla="*/ 806767 w 1296352"/>
              <a:gd name="connsiteY163" fmla="*/ 393382 h 421005"/>
              <a:gd name="connsiteX164" fmla="*/ 792480 w 1296352"/>
              <a:gd name="connsiteY164" fmla="*/ 393382 h 421005"/>
              <a:gd name="connsiteX165" fmla="*/ 792480 w 1296352"/>
              <a:gd name="connsiteY165" fmla="*/ 381953 h 421005"/>
              <a:gd name="connsiteX166" fmla="*/ 820102 w 1296352"/>
              <a:gd name="connsiteY166" fmla="*/ 381953 h 421005"/>
              <a:gd name="connsiteX167" fmla="*/ 820102 w 1296352"/>
              <a:gd name="connsiteY167" fmla="*/ 382905 h 421005"/>
              <a:gd name="connsiteX168" fmla="*/ 820102 w 1296352"/>
              <a:gd name="connsiteY168" fmla="*/ 411480 h 421005"/>
              <a:gd name="connsiteX169" fmla="*/ 796290 w 1296352"/>
              <a:gd name="connsiteY169" fmla="*/ 421005 h 421005"/>
              <a:gd name="connsiteX170" fmla="*/ 764857 w 1296352"/>
              <a:gd name="connsiteY170" fmla="*/ 387668 h 421005"/>
              <a:gd name="connsiteX171" fmla="*/ 797242 w 1296352"/>
              <a:gd name="connsiteY171" fmla="*/ 354330 h 421005"/>
              <a:gd name="connsiteX172" fmla="*/ 232411 w 1296352"/>
              <a:gd name="connsiteY172" fmla="*/ 354330 h 421005"/>
              <a:gd name="connsiteX173" fmla="*/ 253366 w 1296352"/>
              <a:gd name="connsiteY173" fmla="*/ 360998 h 421005"/>
              <a:gd name="connsiteX174" fmla="*/ 246698 w 1296352"/>
              <a:gd name="connsiteY174" fmla="*/ 370523 h 421005"/>
              <a:gd name="connsiteX175" fmla="*/ 231458 w 1296352"/>
              <a:gd name="connsiteY175" fmla="*/ 365760 h 421005"/>
              <a:gd name="connsiteX176" fmla="*/ 220981 w 1296352"/>
              <a:gd name="connsiteY176" fmla="*/ 372428 h 421005"/>
              <a:gd name="connsiteX177" fmla="*/ 234316 w 1296352"/>
              <a:gd name="connsiteY177" fmla="*/ 381000 h 421005"/>
              <a:gd name="connsiteX178" fmla="*/ 254318 w 1296352"/>
              <a:gd name="connsiteY178" fmla="*/ 400050 h 421005"/>
              <a:gd name="connsiteX179" fmla="*/ 230506 w 1296352"/>
              <a:gd name="connsiteY179" fmla="*/ 420053 h 421005"/>
              <a:gd name="connsiteX180" fmla="*/ 206693 w 1296352"/>
              <a:gd name="connsiteY180" fmla="*/ 411480 h 421005"/>
              <a:gd name="connsiteX181" fmla="*/ 213361 w 1296352"/>
              <a:gd name="connsiteY181" fmla="*/ 401955 h 421005"/>
              <a:gd name="connsiteX182" fmla="*/ 231458 w 1296352"/>
              <a:gd name="connsiteY182" fmla="*/ 408623 h 421005"/>
              <a:gd name="connsiteX183" fmla="*/ 241936 w 1296352"/>
              <a:gd name="connsiteY183" fmla="*/ 401003 h 421005"/>
              <a:gd name="connsiteX184" fmla="*/ 229553 w 1296352"/>
              <a:gd name="connsiteY184" fmla="*/ 392430 h 421005"/>
              <a:gd name="connsiteX185" fmla="*/ 208598 w 1296352"/>
              <a:gd name="connsiteY185" fmla="*/ 373380 h 421005"/>
              <a:gd name="connsiteX186" fmla="*/ 232411 w 1296352"/>
              <a:gd name="connsiteY186" fmla="*/ 354330 h 421005"/>
              <a:gd name="connsiteX187" fmla="*/ 169545 w 1296352"/>
              <a:gd name="connsiteY187" fmla="*/ 354330 h 421005"/>
              <a:gd name="connsiteX188" fmla="*/ 190500 w 1296352"/>
              <a:gd name="connsiteY188" fmla="*/ 360998 h 421005"/>
              <a:gd name="connsiteX189" fmla="*/ 183833 w 1296352"/>
              <a:gd name="connsiteY189" fmla="*/ 370523 h 421005"/>
              <a:gd name="connsiteX190" fmla="*/ 168593 w 1296352"/>
              <a:gd name="connsiteY190" fmla="*/ 365760 h 421005"/>
              <a:gd name="connsiteX191" fmla="*/ 158116 w 1296352"/>
              <a:gd name="connsiteY191" fmla="*/ 372428 h 421005"/>
              <a:gd name="connsiteX192" fmla="*/ 171450 w 1296352"/>
              <a:gd name="connsiteY192" fmla="*/ 381000 h 421005"/>
              <a:gd name="connsiteX193" fmla="*/ 191453 w 1296352"/>
              <a:gd name="connsiteY193" fmla="*/ 400050 h 421005"/>
              <a:gd name="connsiteX194" fmla="*/ 167641 w 1296352"/>
              <a:gd name="connsiteY194" fmla="*/ 420053 h 421005"/>
              <a:gd name="connsiteX195" fmla="*/ 143828 w 1296352"/>
              <a:gd name="connsiteY195" fmla="*/ 411480 h 421005"/>
              <a:gd name="connsiteX196" fmla="*/ 150495 w 1296352"/>
              <a:gd name="connsiteY196" fmla="*/ 401955 h 421005"/>
              <a:gd name="connsiteX197" fmla="*/ 168593 w 1296352"/>
              <a:gd name="connsiteY197" fmla="*/ 408623 h 421005"/>
              <a:gd name="connsiteX198" fmla="*/ 179070 w 1296352"/>
              <a:gd name="connsiteY198" fmla="*/ 401003 h 421005"/>
              <a:gd name="connsiteX199" fmla="*/ 166688 w 1296352"/>
              <a:gd name="connsiteY199" fmla="*/ 392430 h 421005"/>
              <a:gd name="connsiteX200" fmla="*/ 145733 w 1296352"/>
              <a:gd name="connsiteY200" fmla="*/ 373380 h 421005"/>
              <a:gd name="connsiteX201" fmla="*/ 169545 w 1296352"/>
              <a:gd name="connsiteY201" fmla="*/ 354330 h 421005"/>
              <a:gd name="connsiteX202" fmla="*/ 367665 w 1296352"/>
              <a:gd name="connsiteY202" fmla="*/ 101918 h 421005"/>
              <a:gd name="connsiteX203" fmla="*/ 306705 w 1296352"/>
              <a:gd name="connsiteY203" fmla="*/ 162878 h 421005"/>
              <a:gd name="connsiteX204" fmla="*/ 367665 w 1296352"/>
              <a:gd name="connsiteY204" fmla="*/ 223838 h 421005"/>
              <a:gd name="connsiteX205" fmla="*/ 428625 w 1296352"/>
              <a:gd name="connsiteY205" fmla="*/ 162878 h 421005"/>
              <a:gd name="connsiteX206" fmla="*/ 367665 w 1296352"/>
              <a:gd name="connsiteY206" fmla="*/ 101918 h 421005"/>
              <a:gd name="connsiteX207" fmla="*/ 1190625 w 1296352"/>
              <a:gd name="connsiteY207" fmla="*/ 100966 h 421005"/>
              <a:gd name="connsiteX208" fmla="*/ 1129665 w 1296352"/>
              <a:gd name="connsiteY208" fmla="*/ 169546 h 421005"/>
              <a:gd name="connsiteX209" fmla="*/ 1183005 w 1296352"/>
              <a:gd name="connsiteY209" fmla="*/ 222886 h 421005"/>
              <a:gd name="connsiteX210" fmla="*/ 1251585 w 1296352"/>
              <a:gd name="connsiteY210" fmla="*/ 165736 h 421005"/>
              <a:gd name="connsiteX211" fmla="*/ 1251585 w 1296352"/>
              <a:gd name="connsiteY211" fmla="*/ 159068 h 421005"/>
              <a:gd name="connsiteX212" fmla="*/ 1190625 w 1296352"/>
              <a:gd name="connsiteY212" fmla="*/ 100966 h 421005"/>
              <a:gd name="connsiteX213" fmla="*/ 718185 w 1296352"/>
              <a:gd name="connsiteY213" fmla="*/ 100965 h 421005"/>
              <a:gd name="connsiteX214" fmla="*/ 657225 w 1296352"/>
              <a:gd name="connsiteY214" fmla="*/ 169545 h 421005"/>
              <a:gd name="connsiteX215" fmla="*/ 710565 w 1296352"/>
              <a:gd name="connsiteY215" fmla="*/ 222885 h 421005"/>
              <a:gd name="connsiteX216" fmla="*/ 779145 w 1296352"/>
              <a:gd name="connsiteY216" fmla="*/ 165735 h 421005"/>
              <a:gd name="connsiteX217" fmla="*/ 779145 w 1296352"/>
              <a:gd name="connsiteY217" fmla="*/ 159067 h 421005"/>
              <a:gd name="connsiteX218" fmla="*/ 718185 w 1296352"/>
              <a:gd name="connsiteY218" fmla="*/ 100965 h 421005"/>
              <a:gd name="connsiteX219" fmla="*/ 962546 w 1296352"/>
              <a:gd name="connsiteY219" fmla="*/ 96694 h 421005"/>
              <a:gd name="connsiteX220" fmla="*/ 939165 w 1296352"/>
              <a:gd name="connsiteY220" fmla="*/ 100966 h 421005"/>
              <a:gd name="connsiteX221" fmla="*/ 897255 w 1296352"/>
              <a:gd name="connsiteY221" fmla="*/ 159068 h 421005"/>
              <a:gd name="connsiteX222" fmla="*/ 1012508 w 1296352"/>
              <a:gd name="connsiteY222" fmla="*/ 127636 h 421005"/>
              <a:gd name="connsiteX223" fmla="*/ 962546 w 1296352"/>
              <a:gd name="connsiteY223" fmla="*/ 96694 h 421005"/>
              <a:gd name="connsiteX224" fmla="*/ 1182052 w 1296352"/>
              <a:gd name="connsiteY224" fmla="*/ 57151 h 421005"/>
              <a:gd name="connsiteX225" fmla="*/ 1296352 w 1296352"/>
              <a:gd name="connsiteY225" fmla="*/ 165736 h 421005"/>
              <a:gd name="connsiteX226" fmla="*/ 1296352 w 1296352"/>
              <a:gd name="connsiteY226" fmla="*/ 266701 h 421005"/>
              <a:gd name="connsiteX227" fmla="*/ 1255395 w 1296352"/>
              <a:gd name="connsiteY227" fmla="*/ 266701 h 421005"/>
              <a:gd name="connsiteX228" fmla="*/ 1255395 w 1296352"/>
              <a:gd name="connsiteY228" fmla="*/ 235268 h 421005"/>
              <a:gd name="connsiteX229" fmla="*/ 1189672 w 1296352"/>
              <a:gd name="connsiteY229" fmla="*/ 269558 h 421005"/>
              <a:gd name="connsiteX230" fmla="*/ 1083945 w 1296352"/>
              <a:gd name="connsiteY230" fmla="*/ 156211 h 421005"/>
              <a:gd name="connsiteX231" fmla="*/ 1182052 w 1296352"/>
              <a:gd name="connsiteY231" fmla="*/ 57151 h 421005"/>
              <a:gd name="connsiteX232" fmla="*/ 957263 w 1296352"/>
              <a:gd name="connsiteY232" fmla="*/ 57151 h 421005"/>
              <a:gd name="connsiteX233" fmla="*/ 1065847 w 1296352"/>
              <a:gd name="connsiteY233" fmla="*/ 152401 h 421005"/>
              <a:gd name="connsiteX234" fmla="*/ 906780 w 1296352"/>
              <a:gd name="connsiteY234" fmla="*/ 196216 h 421005"/>
              <a:gd name="connsiteX235" fmla="*/ 972502 w 1296352"/>
              <a:gd name="connsiteY235" fmla="*/ 227648 h 421005"/>
              <a:gd name="connsiteX236" fmla="*/ 1018222 w 1296352"/>
              <a:gd name="connsiteY236" fmla="*/ 192406 h 421005"/>
              <a:gd name="connsiteX237" fmla="*/ 1059180 w 1296352"/>
              <a:gd name="connsiteY237" fmla="*/ 204788 h 421005"/>
              <a:gd name="connsiteX238" fmla="*/ 960120 w 1296352"/>
              <a:gd name="connsiteY238" fmla="*/ 270511 h 421005"/>
              <a:gd name="connsiteX239" fmla="*/ 853440 w 1296352"/>
              <a:gd name="connsiteY239" fmla="*/ 164783 h 421005"/>
              <a:gd name="connsiteX240" fmla="*/ 957263 w 1296352"/>
              <a:gd name="connsiteY240" fmla="*/ 57151 h 421005"/>
              <a:gd name="connsiteX241" fmla="*/ 606742 w 1296352"/>
              <a:gd name="connsiteY241" fmla="*/ 56198 h 421005"/>
              <a:gd name="connsiteX242" fmla="*/ 606742 w 1296352"/>
              <a:gd name="connsiteY242" fmla="*/ 100013 h 421005"/>
              <a:gd name="connsiteX243" fmla="*/ 547688 w 1296352"/>
              <a:gd name="connsiteY243" fmla="*/ 165736 h 421005"/>
              <a:gd name="connsiteX244" fmla="*/ 547688 w 1296352"/>
              <a:gd name="connsiteY244" fmla="*/ 265748 h 421005"/>
              <a:gd name="connsiteX245" fmla="*/ 501015 w 1296352"/>
              <a:gd name="connsiteY245" fmla="*/ 265748 h 421005"/>
              <a:gd name="connsiteX246" fmla="*/ 501015 w 1296352"/>
              <a:gd name="connsiteY246" fmla="*/ 160021 h 421005"/>
              <a:gd name="connsiteX247" fmla="*/ 501015 w 1296352"/>
              <a:gd name="connsiteY247" fmla="*/ 62866 h 421005"/>
              <a:gd name="connsiteX248" fmla="*/ 546735 w 1296352"/>
              <a:gd name="connsiteY248" fmla="*/ 62866 h 421005"/>
              <a:gd name="connsiteX249" fmla="*/ 546735 w 1296352"/>
              <a:gd name="connsiteY249" fmla="*/ 86678 h 421005"/>
              <a:gd name="connsiteX250" fmla="*/ 606742 w 1296352"/>
              <a:gd name="connsiteY250" fmla="*/ 56198 h 421005"/>
              <a:gd name="connsiteX251" fmla="*/ 367665 w 1296352"/>
              <a:gd name="connsiteY251" fmla="*/ 56198 h 421005"/>
              <a:gd name="connsiteX252" fmla="*/ 474345 w 1296352"/>
              <a:gd name="connsiteY252" fmla="*/ 162878 h 421005"/>
              <a:gd name="connsiteX253" fmla="*/ 367665 w 1296352"/>
              <a:gd name="connsiteY253" fmla="*/ 269558 h 421005"/>
              <a:gd name="connsiteX254" fmla="*/ 260985 w 1296352"/>
              <a:gd name="connsiteY254" fmla="*/ 162878 h 421005"/>
              <a:gd name="connsiteX255" fmla="*/ 367665 w 1296352"/>
              <a:gd name="connsiteY255" fmla="*/ 56198 h 421005"/>
              <a:gd name="connsiteX256" fmla="*/ 0 w 1296352"/>
              <a:gd name="connsiteY256" fmla="*/ 20956 h 421005"/>
              <a:gd name="connsiteX257" fmla="*/ 47625 w 1296352"/>
              <a:gd name="connsiteY257" fmla="*/ 20956 h 421005"/>
              <a:gd name="connsiteX258" fmla="*/ 186690 w 1296352"/>
              <a:gd name="connsiteY258" fmla="*/ 184786 h 421005"/>
              <a:gd name="connsiteX259" fmla="*/ 186690 w 1296352"/>
              <a:gd name="connsiteY259" fmla="*/ 20956 h 421005"/>
              <a:gd name="connsiteX260" fmla="*/ 233363 w 1296352"/>
              <a:gd name="connsiteY260" fmla="*/ 20956 h 421005"/>
              <a:gd name="connsiteX261" fmla="*/ 233363 w 1296352"/>
              <a:gd name="connsiteY261" fmla="*/ 266701 h 421005"/>
              <a:gd name="connsiteX262" fmla="*/ 190500 w 1296352"/>
              <a:gd name="connsiteY262" fmla="*/ 266701 h 421005"/>
              <a:gd name="connsiteX263" fmla="*/ 49530 w 1296352"/>
              <a:gd name="connsiteY263" fmla="*/ 101918 h 421005"/>
              <a:gd name="connsiteX264" fmla="*/ 49530 w 1296352"/>
              <a:gd name="connsiteY264" fmla="*/ 265748 h 421005"/>
              <a:gd name="connsiteX265" fmla="*/ 0 w 1296352"/>
              <a:gd name="connsiteY265" fmla="*/ 265748 h 421005"/>
              <a:gd name="connsiteX266" fmla="*/ 781050 w 1296352"/>
              <a:gd name="connsiteY266" fmla="*/ 0 h 421005"/>
              <a:gd name="connsiteX267" fmla="*/ 824865 w 1296352"/>
              <a:gd name="connsiteY267" fmla="*/ 0 h 421005"/>
              <a:gd name="connsiteX268" fmla="*/ 824865 w 1296352"/>
              <a:gd name="connsiteY268" fmla="*/ 160973 h 421005"/>
              <a:gd name="connsiteX269" fmla="*/ 824865 w 1296352"/>
              <a:gd name="connsiteY269" fmla="*/ 162878 h 421005"/>
              <a:gd name="connsiteX270" fmla="*/ 824865 w 1296352"/>
              <a:gd name="connsiteY270" fmla="*/ 164783 h 421005"/>
              <a:gd name="connsiteX271" fmla="*/ 824865 w 1296352"/>
              <a:gd name="connsiteY271" fmla="*/ 267653 h 421005"/>
              <a:gd name="connsiteX272" fmla="*/ 783908 w 1296352"/>
              <a:gd name="connsiteY272" fmla="*/ 267653 h 421005"/>
              <a:gd name="connsiteX273" fmla="*/ 783908 w 1296352"/>
              <a:gd name="connsiteY273" fmla="*/ 240030 h 421005"/>
              <a:gd name="connsiteX274" fmla="*/ 718185 w 1296352"/>
              <a:gd name="connsiteY274" fmla="*/ 270510 h 421005"/>
              <a:gd name="connsiteX275" fmla="*/ 612458 w 1296352"/>
              <a:gd name="connsiteY275" fmla="*/ 157163 h 421005"/>
              <a:gd name="connsiteX276" fmla="*/ 710565 w 1296352"/>
              <a:gd name="connsiteY276" fmla="*/ 58103 h 421005"/>
              <a:gd name="connsiteX277" fmla="*/ 781050 w 1296352"/>
              <a:gd name="connsiteY277" fmla="*/ 80010 h 42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</a:cxnLst>
            <a:rect l="l" t="t" r="r" b="b"/>
            <a:pathLst>
              <a:path w="1296352" h="421005">
                <a:moveTo>
                  <a:pt x="720090" y="368618"/>
                </a:moveTo>
                <a:cubicBezTo>
                  <a:pt x="717233" y="376238"/>
                  <a:pt x="714375" y="384811"/>
                  <a:pt x="711518" y="392431"/>
                </a:cubicBezTo>
                <a:lnTo>
                  <a:pt x="710565" y="394336"/>
                </a:lnTo>
                <a:lnTo>
                  <a:pt x="729615" y="394336"/>
                </a:lnTo>
                <a:lnTo>
                  <a:pt x="728663" y="392431"/>
                </a:lnTo>
                <a:cubicBezTo>
                  <a:pt x="725805" y="384811"/>
                  <a:pt x="722948" y="376238"/>
                  <a:pt x="720090" y="368618"/>
                </a:cubicBezTo>
                <a:close/>
                <a:moveTo>
                  <a:pt x="565785" y="368618"/>
                </a:moveTo>
                <a:cubicBezTo>
                  <a:pt x="562928" y="376238"/>
                  <a:pt x="560070" y="384811"/>
                  <a:pt x="557213" y="392431"/>
                </a:cubicBezTo>
                <a:lnTo>
                  <a:pt x="556260" y="394336"/>
                </a:lnTo>
                <a:lnTo>
                  <a:pt x="575310" y="394336"/>
                </a:lnTo>
                <a:lnTo>
                  <a:pt x="574357" y="392431"/>
                </a:lnTo>
                <a:cubicBezTo>
                  <a:pt x="571500" y="384811"/>
                  <a:pt x="568643" y="376238"/>
                  <a:pt x="565785" y="368618"/>
                </a:cubicBezTo>
                <a:close/>
                <a:moveTo>
                  <a:pt x="100012" y="368618"/>
                </a:moveTo>
                <a:cubicBezTo>
                  <a:pt x="97155" y="376238"/>
                  <a:pt x="94298" y="384811"/>
                  <a:pt x="91440" y="392431"/>
                </a:cubicBezTo>
                <a:lnTo>
                  <a:pt x="90487" y="394336"/>
                </a:lnTo>
                <a:lnTo>
                  <a:pt x="109537" y="394336"/>
                </a:lnTo>
                <a:lnTo>
                  <a:pt x="108585" y="392431"/>
                </a:lnTo>
                <a:cubicBezTo>
                  <a:pt x="105728" y="384811"/>
                  <a:pt x="102870" y="376238"/>
                  <a:pt x="100012" y="368618"/>
                </a:cubicBezTo>
                <a:close/>
                <a:moveTo>
                  <a:pt x="915353" y="356236"/>
                </a:moveTo>
                <a:lnTo>
                  <a:pt x="933451" y="356236"/>
                </a:lnTo>
                <a:lnTo>
                  <a:pt x="942976" y="381953"/>
                </a:lnTo>
                <a:cubicBezTo>
                  <a:pt x="945833" y="388621"/>
                  <a:pt x="947738" y="395288"/>
                  <a:pt x="950596" y="401956"/>
                </a:cubicBezTo>
                <a:cubicBezTo>
                  <a:pt x="952501" y="395288"/>
                  <a:pt x="955358" y="388621"/>
                  <a:pt x="958215" y="381953"/>
                </a:cubicBezTo>
                <a:lnTo>
                  <a:pt x="967740" y="356236"/>
                </a:lnTo>
                <a:lnTo>
                  <a:pt x="986790" y="356236"/>
                </a:lnTo>
                <a:lnTo>
                  <a:pt x="986790" y="419101"/>
                </a:lnTo>
                <a:lnTo>
                  <a:pt x="973455" y="419101"/>
                </a:lnTo>
                <a:lnTo>
                  <a:pt x="973455" y="396241"/>
                </a:lnTo>
                <a:cubicBezTo>
                  <a:pt x="973455" y="387668"/>
                  <a:pt x="973455" y="379096"/>
                  <a:pt x="973455" y="370523"/>
                </a:cubicBezTo>
                <a:cubicBezTo>
                  <a:pt x="970598" y="379096"/>
                  <a:pt x="967740" y="387668"/>
                  <a:pt x="963930" y="396241"/>
                </a:cubicBezTo>
                <a:lnTo>
                  <a:pt x="955358" y="419101"/>
                </a:lnTo>
                <a:lnTo>
                  <a:pt x="945833" y="419101"/>
                </a:lnTo>
                <a:lnTo>
                  <a:pt x="937260" y="396241"/>
                </a:lnTo>
                <a:cubicBezTo>
                  <a:pt x="934403" y="387668"/>
                  <a:pt x="930593" y="380048"/>
                  <a:pt x="927735" y="371476"/>
                </a:cubicBezTo>
                <a:cubicBezTo>
                  <a:pt x="927735" y="380048"/>
                  <a:pt x="927735" y="388621"/>
                  <a:pt x="927735" y="397193"/>
                </a:cubicBezTo>
                <a:lnTo>
                  <a:pt x="927735" y="420053"/>
                </a:lnTo>
                <a:lnTo>
                  <a:pt x="915353" y="420053"/>
                </a:lnTo>
                <a:close/>
                <a:moveTo>
                  <a:pt x="445770" y="356236"/>
                </a:moveTo>
                <a:lnTo>
                  <a:pt x="463868" y="356236"/>
                </a:lnTo>
                <a:lnTo>
                  <a:pt x="473393" y="381953"/>
                </a:lnTo>
                <a:cubicBezTo>
                  <a:pt x="476250" y="388621"/>
                  <a:pt x="478155" y="395288"/>
                  <a:pt x="481013" y="401956"/>
                </a:cubicBezTo>
                <a:cubicBezTo>
                  <a:pt x="482918" y="395288"/>
                  <a:pt x="485775" y="388621"/>
                  <a:pt x="488633" y="381953"/>
                </a:cubicBezTo>
                <a:lnTo>
                  <a:pt x="498158" y="356236"/>
                </a:lnTo>
                <a:lnTo>
                  <a:pt x="516255" y="356236"/>
                </a:lnTo>
                <a:lnTo>
                  <a:pt x="516255" y="419101"/>
                </a:lnTo>
                <a:lnTo>
                  <a:pt x="502920" y="419101"/>
                </a:lnTo>
                <a:lnTo>
                  <a:pt x="502920" y="396241"/>
                </a:lnTo>
                <a:cubicBezTo>
                  <a:pt x="502920" y="387668"/>
                  <a:pt x="502920" y="379096"/>
                  <a:pt x="502920" y="370523"/>
                </a:cubicBezTo>
                <a:cubicBezTo>
                  <a:pt x="500063" y="379096"/>
                  <a:pt x="497205" y="387668"/>
                  <a:pt x="493395" y="396241"/>
                </a:cubicBezTo>
                <a:lnTo>
                  <a:pt x="484822" y="419101"/>
                </a:lnTo>
                <a:lnTo>
                  <a:pt x="475297" y="419101"/>
                </a:lnTo>
                <a:lnTo>
                  <a:pt x="467678" y="396241"/>
                </a:lnTo>
                <a:cubicBezTo>
                  <a:pt x="464820" y="387668"/>
                  <a:pt x="461010" y="380048"/>
                  <a:pt x="458153" y="371476"/>
                </a:cubicBezTo>
                <a:cubicBezTo>
                  <a:pt x="458153" y="380048"/>
                  <a:pt x="458153" y="388621"/>
                  <a:pt x="458153" y="397193"/>
                </a:cubicBezTo>
                <a:lnTo>
                  <a:pt x="458153" y="420053"/>
                </a:lnTo>
                <a:lnTo>
                  <a:pt x="445770" y="420053"/>
                </a:lnTo>
                <a:close/>
                <a:moveTo>
                  <a:pt x="1158240" y="355283"/>
                </a:moveTo>
                <a:lnTo>
                  <a:pt x="1208723" y="355283"/>
                </a:lnTo>
                <a:lnTo>
                  <a:pt x="1208723" y="366713"/>
                </a:lnTo>
                <a:lnTo>
                  <a:pt x="1189673" y="366713"/>
                </a:lnTo>
                <a:lnTo>
                  <a:pt x="1189673" y="419101"/>
                </a:lnTo>
                <a:lnTo>
                  <a:pt x="1176338" y="419101"/>
                </a:lnTo>
                <a:lnTo>
                  <a:pt x="1176338" y="366713"/>
                </a:lnTo>
                <a:lnTo>
                  <a:pt x="1158240" y="366713"/>
                </a:lnTo>
                <a:close/>
                <a:moveTo>
                  <a:pt x="1084897" y="355283"/>
                </a:moveTo>
                <a:lnTo>
                  <a:pt x="1099185" y="355283"/>
                </a:lnTo>
                <a:lnTo>
                  <a:pt x="1113472" y="377191"/>
                </a:lnTo>
                <a:cubicBezTo>
                  <a:pt x="1119187" y="384811"/>
                  <a:pt x="1122997" y="391478"/>
                  <a:pt x="1125855" y="397193"/>
                </a:cubicBezTo>
                <a:lnTo>
                  <a:pt x="1125855" y="355283"/>
                </a:lnTo>
                <a:lnTo>
                  <a:pt x="1138237" y="355283"/>
                </a:lnTo>
                <a:lnTo>
                  <a:pt x="1138237" y="419101"/>
                </a:lnTo>
                <a:lnTo>
                  <a:pt x="1126807" y="419101"/>
                </a:lnTo>
                <a:lnTo>
                  <a:pt x="1111567" y="395288"/>
                </a:lnTo>
                <a:cubicBezTo>
                  <a:pt x="1104900" y="385763"/>
                  <a:pt x="1101089" y="379096"/>
                  <a:pt x="1097280" y="373381"/>
                </a:cubicBezTo>
                <a:lnTo>
                  <a:pt x="1097280" y="419101"/>
                </a:lnTo>
                <a:lnTo>
                  <a:pt x="1084897" y="419101"/>
                </a:lnTo>
                <a:close/>
                <a:moveTo>
                  <a:pt x="1013460" y="355283"/>
                </a:moveTo>
                <a:lnTo>
                  <a:pt x="1057275" y="355283"/>
                </a:lnTo>
                <a:lnTo>
                  <a:pt x="1057275" y="366713"/>
                </a:lnTo>
                <a:lnTo>
                  <a:pt x="1026795" y="366713"/>
                </a:lnTo>
                <a:lnTo>
                  <a:pt x="1026795" y="381001"/>
                </a:lnTo>
                <a:lnTo>
                  <a:pt x="1054418" y="381001"/>
                </a:lnTo>
                <a:lnTo>
                  <a:pt x="1054418" y="392431"/>
                </a:lnTo>
                <a:lnTo>
                  <a:pt x="1026795" y="392431"/>
                </a:lnTo>
                <a:lnTo>
                  <a:pt x="1026795" y="407671"/>
                </a:lnTo>
                <a:lnTo>
                  <a:pt x="1058227" y="407671"/>
                </a:lnTo>
                <a:lnTo>
                  <a:pt x="1058227" y="419101"/>
                </a:lnTo>
                <a:lnTo>
                  <a:pt x="1013460" y="419101"/>
                </a:lnTo>
                <a:close/>
                <a:moveTo>
                  <a:pt x="845820" y="355283"/>
                </a:moveTo>
                <a:lnTo>
                  <a:pt x="889635" y="355283"/>
                </a:lnTo>
                <a:lnTo>
                  <a:pt x="889635" y="366713"/>
                </a:lnTo>
                <a:lnTo>
                  <a:pt x="859155" y="366713"/>
                </a:lnTo>
                <a:lnTo>
                  <a:pt x="859155" y="381001"/>
                </a:lnTo>
                <a:lnTo>
                  <a:pt x="886778" y="381001"/>
                </a:lnTo>
                <a:lnTo>
                  <a:pt x="886778" y="392431"/>
                </a:lnTo>
                <a:lnTo>
                  <a:pt x="859155" y="392431"/>
                </a:lnTo>
                <a:lnTo>
                  <a:pt x="859155" y="407671"/>
                </a:lnTo>
                <a:lnTo>
                  <a:pt x="890588" y="407671"/>
                </a:lnTo>
                <a:lnTo>
                  <a:pt x="890588" y="419101"/>
                </a:lnTo>
                <a:lnTo>
                  <a:pt x="845820" y="419101"/>
                </a:lnTo>
                <a:close/>
                <a:moveTo>
                  <a:pt x="713423" y="355283"/>
                </a:moveTo>
                <a:lnTo>
                  <a:pt x="729615" y="355283"/>
                </a:lnTo>
                <a:lnTo>
                  <a:pt x="753428" y="419101"/>
                </a:lnTo>
                <a:lnTo>
                  <a:pt x="739140" y="419101"/>
                </a:lnTo>
                <a:lnTo>
                  <a:pt x="734378" y="405766"/>
                </a:lnTo>
                <a:lnTo>
                  <a:pt x="707708" y="405766"/>
                </a:lnTo>
                <a:lnTo>
                  <a:pt x="702945" y="419101"/>
                </a:lnTo>
                <a:lnTo>
                  <a:pt x="689610" y="419101"/>
                </a:lnTo>
                <a:close/>
                <a:moveTo>
                  <a:pt x="617220" y="355283"/>
                </a:moveTo>
                <a:lnTo>
                  <a:pt x="631508" y="355283"/>
                </a:lnTo>
                <a:lnTo>
                  <a:pt x="645795" y="377191"/>
                </a:lnTo>
                <a:cubicBezTo>
                  <a:pt x="651510" y="384811"/>
                  <a:pt x="655320" y="391478"/>
                  <a:pt x="658178" y="397193"/>
                </a:cubicBezTo>
                <a:lnTo>
                  <a:pt x="658178" y="355283"/>
                </a:lnTo>
                <a:lnTo>
                  <a:pt x="670560" y="355283"/>
                </a:lnTo>
                <a:lnTo>
                  <a:pt x="670560" y="419101"/>
                </a:lnTo>
                <a:lnTo>
                  <a:pt x="659130" y="419101"/>
                </a:lnTo>
                <a:lnTo>
                  <a:pt x="643890" y="395288"/>
                </a:lnTo>
                <a:cubicBezTo>
                  <a:pt x="637222" y="385763"/>
                  <a:pt x="633413" y="379096"/>
                  <a:pt x="629603" y="373381"/>
                </a:cubicBezTo>
                <a:lnTo>
                  <a:pt x="629603" y="419101"/>
                </a:lnTo>
                <a:lnTo>
                  <a:pt x="617220" y="419101"/>
                </a:lnTo>
                <a:close/>
                <a:moveTo>
                  <a:pt x="559118" y="355283"/>
                </a:moveTo>
                <a:lnTo>
                  <a:pt x="575310" y="355283"/>
                </a:lnTo>
                <a:lnTo>
                  <a:pt x="599122" y="419101"/>
                </a:lnTo>
                <a:lnTo>
                  <a:pt x="584835" y="419101"/>
                </a:lnTo>
                <a:lnTo>
                  <a:pt x="580072" y="405766"/>
                </a:lnTo>
                <a:lnTo>
                  <a:pt x="553403" y="405766"/>
                </a:lnTo>
                <a:lnTo>
                  <a:pt x="548640" y="419101"/>
                </a:lnTo>
                <a:lnTo>
                  <a:pt x="535305" y="419101"/>
                </a:lnTo>
                <a:close/>
                <a:moveTo>
                  <a:pt x="338137" y="355283"/>
                </a:moveTo>
                <a:lnTo>
                  <a:pt x="388619" y="355283"/>
                </a:lnTo>
                <a:lnTo>
                  <a:pt x="388619" y="366713"/>
                </a:lnTo>
                <a:lnTo>
                  <a:pt x="369569" y="366713"/>
                </a:lnTo>
                <a:lnTo>
                  <a:pt x="369569" y="419101"/>
                </a:lnTo>
                <a:lnTo>
                  <a:pt x="356234" y="419101"/>
                </a:lnTo>
                <a:lnTo>
                  <a:pt x="356234" y="366713"/>
                </a:lnTo>
                <a:lnTo>
                  <a:pt x="338137" y="366713"/>
                </a:lnTo>
                <a:close/>
                <a:moveTo>
                  <a:pt x="274320" y="355283"/>
                </a:moveTo>
                <a:lnTo>
                  <a:pt x="318135" y="355283"/>
                </a:lnTo>
                <a:lnTo>
                  <a:pt x="318135" y="366713"/>
                </a:lnTo>
                <a:lnTo>
                  <a:pt x="287655" y="366713"/>
                </a:lnTo>
                <a:lnTo>
                  <a:pt x="287655" y="381001"/>
                </a:lnTo>
                <a:lnTo>
                  <a:pt x="315278" y="381001"/>
                </a:lnTo>
                <a:lnTo>
                  <a:pt x="315278" y="392431"/>
                </a:lnTo>
                <a:lnTo>
                  <a:pt x="287655" y="392431"/>
                </a:lnTo>
                <a:lnTo>
                  <a:pt x="287655" y="407671"/>
                </a:lnTo>
                <a:lnTo>
                  <a:pt x="319088" y="407671"/>
                </a:lnTo>
                <a:lnTo>
                  <a:pt x="319088" y="419101"/>
                </a:lnTo>
                <a:lnTo>
                  <a:pt x="274320" y="419101"/>
                </a:lnTo>
                <a:close/>
                <a:moveTo>
                  <a:pt x="92393" y="355283"/>
                </a:moveTo>
                <a:lnTo>
                  <a:pt x="108585" y="355283"/>
                </a:lnTo>
                <a:lnTo>
                  <a:pt x="132398" y="419101"/>
                </a:lnTo>
                <a:lnTo>
                  <a:pt x="118110" y="419101"/>
                </a:lnTo>
                <a:lnTo>
                  <a:pt x="113348" y="405766"/>
                </a:lnTo>
                <a:lnTo>
                  <a:pt x="86678" y="405766"/>
                </a:lnTo>
                <a:lnTo>
                  <a:pt x="81915" y="419101"/>
                </a:lnTo>
                <a:lnTo>
                  <a:pt x="68580" y="419101"/>
                </a:lnTo>
                <a:close/>
                <a:moveTo>
                  <a:pt x="797242" y="354330"/>
                </a:moveTo>
                <a:cubicBezTo>
                  <a:pt x="805815" y="354330"/>
                  <a:pt x="813434" y="357188"/>
                  <a:pt x="818197" y="360998"/>
                </a:cubicBezTo>
                <a:lnTo>
                  <a:pt x="810577" y="370523"/>
                </a:lnTo>
                <a:cubicBezTo>
                  <a:pt x="807720" y="367665"/>
                  <a:pt x="802957" y="365760"/>
                  <a:pt x="796290" y="365760"/>
                </a:cubicBezTo>
                <a:cubicBezTo>
                  <a:pt x="782955" y="365760"/>
                  <a:pt x="778192" y="376238"/>
                  <a:pt x="778192" y="386715"/>
                </a:cubicBezTo>
                <a:cubicBezTo>
                  <a:pt x="778192" y="397193"/>
                  <a:pt x="782002" y="408623"/>
                  <a:pt x="796290" y="408623"/>
                </a:cubicBezTo>
                <a:cubicBezTo>
                  <a:pt x="801052" y="408623"/>
                  <a:pt x="803909" y="407670"/>
                  <a:pt x="806767" y="405765"/>
                </a:cubicBezTo>
                <a:lnTo>
                  <a:pt x="806767" y="393382"/>
                </a:lnTo>
                <a:lnTo>
                  <a:pt x="792480" y="393382"/>
                </a:lnTo>
                <a:lnTo>
                  <a:pt x="792480" y="381953"/>
                </a:lnTo>
                <a:lnTo>
                  <a:pt x="820102" y="381953"/>
                </a:lnTo>
                <a:lnTo>
                  <a:pt x="820102" y="382905"/>
                </a:lnTo>
                <a:lnTo>
                  <a:pt x="820102" y="411480"/>
                </a:lnTo>
                <a:cubicBezTo>
                  <a:pt x="815340" y="417195"/>
                  <a:pt x="806767" y="421005"/>
                  <a:pt x="796290" y="421005"/>
                </a:cubicBezTo>
                <a:cubicBezTo>
                  <a:pt x="777240" y="421005"/>
                  <a:pt x="764857" y="409575"/>
                  <a:pt x="764857" y="387668"/>
                </a:cubicBezTo>
                <a:cubicBezTo>
                  <a:pt x="764857" y="365760"/>
                  <a:pt x="778192" y="354330"/>
                  <a:pt x="797242" y="354330"/>
                </a:cubicBezTo>
                <a:close/>
                <a:moveTo>
                  <a:pt x="232411" y="354330"/>
                </a:moveTo>
                <a:cubicBezTo>
                  <a:pt x="241936" y="354330"/>
                  <a:pt x="249556" y="357188"/>
                  <a:pt x="253366" y="360998"/>
                </a:cubicBezTo>
                <a:lnTo>
                  <a:pt x="246698" y="370523"/>
                </a:lnTo>
                <a:cubicBezTo>
                  <a:pt x="242888" y="366713"/>
                  <a:pt x="237173" y="365760"/>
                  <a:pt x="231458" y="365760"/>
                </a:cubicBezTo>
                <a:cubicBezTo>
                  <a:pt x="224791" y="365760"/>
                  <a:pt x="220981" y="368618"/>
                  <a:pt x="220981" y="372428"/>
                </a:cubicBezTo>
                <a:cubicBezTo>
                  <a:pt x="220981" y="376238"/>
                  <a:pt x="224791" y="378143"/>
                  <a:pt x="234316" y="381000"/>
                </a:cubicBezTo>
                <a:cubicBezTo>
                  <a:pt x="247650" y="384810"/>
                  <a:pt x="254318" y="390525"/>
                  <a:pt x="254318" y="400050"/>
                </a:cubicBezTo>
                <a:cubicBezTo>
                  <a:pt x="254318" y="411480"/>
                  <a:pt x="245745" y="420053"/>
                  <a:pt x="230506" y="420053"/>
                </a:cubicBezTo>
                <a:cubicBezTo>
                  <a:pt x="220981" y="420053"/>
                  <a:pt x="211456" y="416243"/>
                  <a:pt x="206693" y="411480"/>
                </a:cubicBezTo>
                <a:lnTo>
                  <a:pt x="213361" y="401955"/>
                </a:lnTo>
                <a:cubicBezTo>
                  <a:pt x="216218" y="404813"/>
                  <a:pt x="222886" y="408623"/>
                  <a:pt x="231458" y="408623"/>
                </a:cubicBezTo>
                <a:cubicBezTo>
                  <a:pt x="238125" y="408623"/>
                  <a:pt x="241936" y="406718"/>
                  <a:pt x="241936" y="401003"/>
                </a:cubicBezTo>
                <a:cubicBezTo>
                  <a:pt x="241936" y="396240"/>
                  <a:pt x="237173" y="394335"/>
                  <a:pt x="229553" y="392430"/>
                </a:cubicBezTo>
                <a:cubicBezTo>
                  <a:pt x="215266" y="388620"/>
                  <a:pt x="208598" y="383857"/>
                  <a:pt x="208598" y="373380"/>
                </a:cubicBezTo>
                <a:cubicBezTo>
                  <a:pt x="208598" y="362903"/>
                  <a:pt x="216218" y="354330"/>
                  <a:pt x="232411" y="354330"/>
                </a:cubicBezTo>
                <a:close/>
                <a:moveTo>
                  <a:pt x="169545" y="354330"/>
                </a:moveTo>
                <a:cubicBezTo>
                  <a:pt x="179070" y="354330"/>
                  <a:pt x="186691" y="357188"/>
                  <a:pt x="190500" y="360998"/>
                </a:cubicBezTo>
                <a:lnTo>
                  <a:pt x="183833" y="370523"/>
                </a:lnTo>
                <a:cubicBezTo>
                  <a:pt x="180023" y="366713"/>
                  <a:pt x="174308" y="365760"/>
                  <a:pt x="168593" y="365760"/>
                </a:cubicBezTo>
                <a:cubicBezTo>
                  <a:pt x="161925" y="365760"/>
                  <a:pt x="158116" y="368618"/>
                  <a:pt x="158116" y="372428"/>
                </a:cubicBezTo>
                <a:cubicBezTo>
                  <a:pt x="158116" y="376238"/>
                  <a:pt x="161925" y="378143"/>
                  <a:pt x="171450" y="381000"/>
                </a:cubicBezTo>
                <a:cubicBezTo>
                  <a:pt x="184785" y="384810"/>
                  <a:pt x="191453" y="390525"/>
                  <a:pt x="191453" y="400050"/>
                </a:cubicBezTo>
                <a:cubicBezTo>
                  <a:pt x="191453" y="411480"/>
                  <a:pt x="182880" y="420053"/>
                  <a:pt x="167641" y="420053"/>
                </a:cubicBezTo>
                <a:cubicBezTo>
                  <a:pt x="158116" y="420053"/>
                  <a:pt x="148591" y="416243"/>
                  <a:pt x="143828" y="411480"/>
                </a:cubicBezTo>
                <a:lnTo>
                  <a:pt x="150495" y="401955"/>
                </a:lnTo>
                <a:cubicBezTo>
                  <a:pt x="153353" y="404813"/>
                  <a:pt x="160020" y="408623"/>
                  <a:pt x="168593" y="408623"/>
                </a:cubicBezTo>
                <a:cubicBezTo>
                  <a:pt x="175260" y="408623"/>
                  <a:pt x="179070" y="406718"/>
                  <a:pt x="179070" y="401003"/>
                </a:cubicBezTo>
                <a:cubicBezTo>
                  <a:pt x="179070" y="396240"/>
                  <a:pt x="174308" y="394335"/>
                  <a:pt x="166688" y="392430"/>
                </a:cubicBezTo>
                <a:cubicBezTo>
                  <a:pt x="152400" y="388620"/>
                  <a:pt x="145733" y="383857"/>
                  <a:pt x="145733" y="373380"/>
                </a:cubicBezTo>
                <a:cubicBezTo>
                  <a:pt x="145733" y="362903"/>
                  <a:pt x="153353" y="354330"/>
                  <a:pt x="169545" y="354330"/>
                </a:cubicBezTo>
                <a:close/>
                <a:moveTo>
                  <a:pt x="367665" y="101918"/>
                </a:moveTo>
                <a:cubicBezTo>
                  <a:pt x="334328" y="101918"/>
                  <a:pt x="306705" y="129541"/>
                  <a:pt x="306705" y="162878"/>
                </a:cubicBezTo>
                <a:cubicBezTo>
                  <a:pt x="306705" y="196216"/>
                  <a:pt x="334328" y="223838"/>
                  <a:pt x="367665" y="223838"/>
                </a:cubicBezTo>
                <a:cubicBezTo>
                  <a:pt x="401003" y="223838"/>
                  <a:pt x="428625" y="197168"/>
                  <a:pt x="428625" y="162878"/>
                </a:cubicBezTo>
                <a:cubicBezTo>
                  <a:pt x="428625" y="129541"/>
                  <a:pt x="401003" y="101918"/>
                  <a:pt x="367665" y="101918"/>
                </a:cubicBezTo>
                <a:close/>
                <a:moveTo>
                  <a:pt x="1190625" y="100966"/>
                </a:moveTo>
                <a:cubicBezTo>
                  <a:pt x="1154430" y="100966"/>
                  <a:pt x="1125855" y="132398"/>
                  <a:pt x="1129665" y="169546"/>
                </a:cubicBezTo>
                <a:cubicBezTo>
                  <a:pt x="1133475" y="197168"/>
                  <a:pt x="1155382" y="219076"/>
                  <a:pt x="1183005" y="222886"/>
                </a:cubicBezTo>
                <a:cubicBezTo>
                  <a:pt x="1219200" y="227648"/>
                  <a:pt x="1249680" y="200978"/>
                  <a:pt x="1251585" y="165736"/>
                </a:cubicBezTo>
                <a:lnTo>
                  <a:pt x="1251585" y="159068"/>
                </a:lnTo>
                <a:cubicBezTo>
                  <a:pt x="1249680" y="126683"/>
                  <a:pt x="1223010" y="100966"/>
                  <a:pt x="1190625" y="100966"/>
                </a:cubicBezTo>
                <a:close/>
                <a:moveTo>
                  <a:pt x="718185" y="100965"/>
                </a:moveTo>
                <a:cubicBezTo>
                  <a:pt x="681990" y="100965"/>
                  <a:pt x="653415" y="132398"/>
                  <a:pt x="657225" y="169545"/>
                </a:cubicBezTo>
                <a:cubicBezTo>
                  <a:pt x="661035" y="197167"/>
                  <a:pt x="682943" y="219075"/>
                  <a:pt x="710565" y="222885"/>
                </a:cubicBezTo>
                <a:cubicBezTo>
                  <a:pt x="746760" y="227648"/>
                  <a:pt x="777240" y="200978"/>
                  <a:pt x="779145" y="165735"/>
                </a:cubicBezTo>
                <a:cubicBezTo>
                  <a:pt x="779145" y="165735"/>
                  <a:pt x="779145" y="159067"/>
                  <a:pt x="779145" y="159067"/>
                </a:cubicBezTo>
                <a:cubicBezTo>
                  <a:pt x="777240" y="126683"/>
                  <a:pt x="750570" y="100965"/>
                  <a:pt x="718185" y="100965"/>
                </a:cubicBezTo>
                <a:close/>
                <a:moveTo>
                  <a:pt x="962546" y="96694"/>
                </a:moveTo>
                <a:cubicBezTo>
                  <a:pt x="955119" y="96560"/>
                  <a:pt x="947261" y="97870"/>
                  <a:pt x="939165" y="100966"/>
                </a:cubicBezTo>
                <a:cubicBezTo>
                  <a:pt x="910590" y="111443"/>
                  <a:pt x="897255" y="137161"/>
                  <a:pt x="897255" y="159068"/>
                </a:cubicBezTo>
                <a:lnTo>
                  <a:pt x="1012508" y="127636"/>
                </a:lnTo>
                <a:cubicBezTo>
                  <a:pt x="1003221" y="110491"/>
                  <a:pt x="984825" y="97096"/>
                  <a:pt x="962546" y="96694"/>
                </a:cubicBezTo>
                <a:close/>
                <a:moveTo>
                  <a:pt x="1182052" y="57151"/>
                </a:moveTo>
                <a:cubicBezTo>
                  <a:pt x="1243012" y="52388"/>
                  <a:pt x="1296352" y="99061"/>
                  <a:pt x="1296352" y="165736"/>
                </a:cubicBezTo>
                <a:lnTo>
                  <a:pt x="1296352" y="266701"/>
                </a:lnTo>
                <a:lnTo>
                  <a:pt x="1255395" y="266701"/>
                </a:lnTo>
                <a:lnTo>
                  <a:pt x="1255395" y="235268"/>
                </a:lnTo>
                <a:cubicBezTo>
                  <a:pt x="1241107" y="258128"/>
                  <a:pt x="1211580" y="269558"/>
                  <a:pt x="1189672" y="269558"/>
                </a:cubicBezTo>
                <a:cubicBezTo>
                  <a:pt x="1128712" y="269558"/>
                  <a:pt x="1080135" y="218123"/>
                  <a:pt x="1083945" y="156211"/>
                </a:cubicBezTo>
                <a:cubicBezTo>
                  <a:pt x="1087755" y="103823"/>
                  <a:pt x="1129665" y="60961"/>
                  <a:pt x="1182052" y="57151"/>
                </a:cubicBezTo>
                <a:close/>
                <a:moveTo>
                  <a:pt x="957263" y="57151"/>
                </a:moveTo>
                <a:cubicBezTo>
                  <a:pt x="1023938" y="55246"/>
                  <a:pt x="1060133" y="110491"/>
                  <a:pt x="1065847" y="152401"/>
                </a:cubicBezTo>
                <a:lnTo>
                  <a:pt x="906780" y="196216"/>
                </a:lnTo>
                <a:cubicBezTo>
                  <a:pt x="917257" y="215266"/>
                  <a:pt x="943928" y="233363"/>
                  <a:pt x="972502" y="227648"/>
                </a:cubicBezTo>
                <a:cubicBezTo>
                  <a:pt x="992505" y="223838"/>
                  <a:pt x="1010602" y="209551"/>
                  <a:pt x="1018222" y="192406"/>
                </a:cubicBezTo>
                <a:lnTo>
                  <a:pt x="1059180" y="204788"/>
                </a:lnTo>
                <a:cubicBezTo>
                  <a:pt x="1042988" y="245746"/>
                  <a:pt x="1002030" y="270511"/>
                  <a:pt x="960120" y="270511"/>
                </a:cubicBezTo>
                <a:cubicBezTo>
                  <a:pt x="900113" y="270511"/>
                  <a:pt x="853440" y="221933"/>
                  <a:pt x="853440" y="164783"/>
                </a:cubicBezTo>
                <a:cubicBezTo>
                  <a:pt x="853440" y="101918"/>
                  <a:pt x="901065" y="59056"/>
                  <a:pt x="957263" y="57151"/>
                </a:cubicBezTo>
                <a:close/>
                <a:moveTo>
                  <a:pt x="606742" y="56198"/>
                </a:moveTo>
                <a:lnTo>
                  <a:pt x="606742" y="100013"/>
                </a:lnTo>
                <a:cubicBezTo>
                  <a:pt x="575310" y="101918"/>
                  <a:pt x="547688" y="120016"/>
                  <a:pt x="547688" y="165736"/>
                </a:cubicBezTo>
                <a:cubicBezTo>
                  <a:pt x="547688" y="203836"/>
                  <a:pt x="547688" y="202883"/>
                  <a:pt x="547688" y="265748"/>
                </a:cubicBezTo>
                <a:lnTo>
                  <a:pt x="501015" y="265748"/>
                </a:lnTo>
                <a:lnTo>
                  <a:pt x="501015" y="160021"/>
                </a:lnTo>
                <a:lnTo>
                  <a:pt x="501015" y="62866"/>
                </a:lnTo>
                <a:lnTo>
                  <a:pt x="546735" y="62866"/>
                </a:lnTo>
                <a:lnTo>
                  <a:pt x="546735" y="86678"/>
                </a:lnTo>
                <a:cubicBezTo>
                  <a:pt x="553403" y="76201"/>
                  <a:pt x="566738" y="56198"/>
                  <a:pt x="606742" y="56198"/>
                </a:cubicBezTo>
                <a:close/>
                <a:moveTo>
                  <a:pt x="367665" y="56198"/>
                </a:moveTo>
                <a:cubicBezTo>
                  <a:pt x="425768" y="56198"/>
                  <a:pt x="473393" y="103823"/>
                  <a:pt x="474345" y="162878"/>
                </a:cubicBezTo>
                <a:cubicBezTo>
                  <a:pt x="474345" y="221933"/>
                  <a:pt x="426720" y="269558"/>
                  <a:pt x="367665" y="269558"/>
                </a:cubicBezTo>
                <a:cubicBezTo>
                  <a:pt x="308610" y="269558"/>
                  <a:pt x="260985" y="221933"/>
                  <a:pt x="260985" y="162878"/>
                </a:cubicBezTo>
                <a:cubicBezTo>
                  <a:pt x="260985" y="103823"/>
                  <a:pt x="308610" y="56198"/>
                  <a:pt x="367665" y="56198"/>
                </a:cubicBezTo>
                <a:close/>
                <a:moveTo>
                  <a:pt x="0" y="20956"/>
                </a:moveTo>
                <a:lnTo>
                  <a:pt x="47625" y="20956"/>
                </a:lnTo>
                <a:lnTo>
                  <a:pt x="186690" y="184786"/>
                </a:lnTo>
                <a:lnTo>
                  <a:pt x="186690" y="20956"/>
                </a:lnTo>
                <a:lnTo>
                  <a:pt x="233363" y="20956"/>
                </a:lnTo>
                <a:lnTo>
                  <a:pt x="233363" y="266701"/>
                </a:lnTo>
                <a:lnTo>
                  <a:pt x="190500" y="266701"/>
                </a:lnTo>
                <a:lnTo>
                  <a:pt x="49530" y="101918"/>
                </a:lnTo>
                <a:lnTo>
                  <a:pt x="49530" y="265748"/>
                </a:lnTo>
                <a:lnTo>
                  <a:pt x="0" y="265748"/>
                </a:lnTo>
                <a:close/>
                <a:moveTo>
                  <a:pt x="781050" y="0"/>
                </a:moveTo>
                <a:lnTo>
                  <a:pt x="824865" y="0"/>
                </a:lnTo>
                <a:lnTo>
                  <a:pt x="824865" y="160973"/>
                </a:lnTo>
                <a:cubicBezTo>
                  <a:pt x="824865" y="161925"/>
                  <a:pt x="824865" y="161925"/>
                  <a:pt x="824865" y="162878"/>
                </a:cubicBezTo>
                <a:cubicBezTo>
                  <a:pt x="824865" y="163830"/>
                  <a:pt x="824865" y="163830"/>
                  <a:pt x="824865" y="164783"/>
                </a:cubicBezTo>
                <a:lnTo>
                  <a:pt x="824865" y="267653"/>
                </a:lnTo>
                <a:lnTo>
                  <a:pt x="783908" y="267653"/>
                </a:lnTo>
                <a:lnTo>
                  <a:pt x="783908" y="240030"/>
                </a:lnTo>
                <a:cubicBezTo>
                  <a:pt x="772478" y="260033"/>
                  <a:pt x="741045" y="270510"/>
                  <a:pt x="718185" y="270510"/>
                </a:cubicBezTo>
                <a:cubicBezTo>
                  <a:pt x="657225" y="270510"/>
                  <a:pt x="608648" y="219075"/>
                  <a:pt x="612458" y="157163"/>
                </a:cubicBezTo>
                <a:cubicBezTo>
                  <a:pt x="616268" y="104775"/>
                  <a:pt x="658178" y="61913"/>
                  <a:pt x="710565" y="58103"/>
                </a:cubicBezTo>
                <a:cubicBezTo>
                  <a:pt x="738188" y="55245"/>
                  <a:pt x="770573" y="66675"/>
                  <a:pt x="781050" y="80010"/>
                </a:cubicBezTo>
                <a:close/>
              </a:path>
            </a:pathLst>
          </a:custGeom>
          <a:solidFill>
            <a:srgbClr val="FFFF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378901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60083"/>
            <a:ext cx="8064000" cy="720167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8000" y="1332000"/>
            <a:ext cx="3492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8067600" y="1332000"/>
            <a:ext cx="3492000" cy="2124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Insert image by clicking on placeholder + Images button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5"/>
          </p:nvPr>
        </p:nvSpPr>
        <p:spPr>
          <a:xfrm>
            <a:off x="4359600" y="1332000"/>
            <a:ext cx="3492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6" hasCustomPrompt="1"/>
          </p:nvPr>
        </p:nvSpPr>
        <p:spPr>
          <a:xfrm>
            <a:off x="8067600" y="3636000"/>
            <a:ext cx="3492000" cy="2124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Insert image by clicking on placeholder + Images button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295806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48000" y="1980000"/>
            <a:ext cx="10908000" cy="3780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Insert image by clicking on placeholder + Images butto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96600" y="360000"/>
            <a:ext cx="7200000" cy="972000"/>
          </a:xfrm>
        </p:spPr>
        <p:txBody>
          <a:bodyPr>
            <a:noAutofit/>
          </a:bodyPr>
          <a:lstStyle>
            <a:lvl1pPr algn="ctr">
              <a:defRPr sz="3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2496600" y="1485578"/>
            <a:ext cx="7200000" cy="360446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b="1">
                <a:solidFill>
                  <a:srgbClr val="8B8A8D"/>
                </a:solidFill>
                <a:latin typeface="+mj-lt"/>
              </a:defRPr>
            </a:lvl1pPr>
            <a:lvl2pPr marL="257191" indent="0">
              <a:buFontTx/>
              <a:buNone/>
              <a:defRPr b="1">
                <a:solidFill>
                  <a:schemeClr val="accent4"/>
                </a:solidFill>
              </a:defRPr>
            </a:lvl2pPr>
            <a:lvl3pPr marL="514382" indent="0">
              <a:buFontTx/>
              <a:buNone/>
              <a:defRPr b="1">
                <a:solidFill>
                  <a:schemeClr val="accent4"/>
                </a:solidFill>
              </a:defRPr>
            </a:lvl3pPr>
            <a:lvl4pPr marL="771574" indent="0">
              <a:buFontTx/>
              <a:buNone/>
              <a:defRPr b="1">
                <a:solidFill>
                  <a:schemeClr val="accent4"/>
                </a:solidFill>
              </a:defRPr>
            </a:lvl4pPr>
            <a:lvl5pPr marL="1028765" indent="0">
              <a:buFontTx/>
              <a:buNone/>
              <a:defRPr b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GB"/>
              <a:t>Click to add sub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893673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2018" y="1617260"/>
            <a:ext cx="8402188" cy="1842446"/>
          </a:xfrm>
        </p:spPr>
        <p:txBody>
          <a:bodyPr anchor="b" anchorCtr="0">
            <a:noAutofit/>
          </a:bodyPr>
          <a:lstStyle>
            <a:lvl1pPr algn="ctr">
              <a:defRPr sz="4000" b="1" cap="none" baseline="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72018" y="3695879"/>
            <a:ext cx="8402188" cy="720167"/>
          </a:xfrm>
        </p:spPr>
        <p:txBody>
          <a:bodyPr anchor="t" anchorCtr="0">
            <a:noAutofit/>
          </a:bodyPr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  <a:lvl2pPr marL="544388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8877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33164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4pPr>
            <a:lvl5pPr marL="2177552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5pPr>
            <a:lvl6pPr marL="272194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6pPr>
            <a:lvl7pPr marL="326632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7pPr>
            <a:lvl8pPr marL="3810716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8pPr>
            <a:lvl9pPr marL="4355104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7" name="Pulse">
            <a:extLst>
              <a:ext uri="{FF2B5EF4-FFF2-40B4-BE49-F238E27FC236}">
                <a16:creationId xmlns:a16="http://schemas.microsoft.com/office/drawing/2014/main" id="{C68BB270-0180-6C0D-F35A-670CC32C7A89}"/>
              </a:ext>
            </a:extLst>
          </p:cNvPr>
          <p:cNvGrpSpPr/>
          <p:nvPr userDrawn="1"/>
        </p:nvGrpSpPr>
        <p:grpSpPr>
          <a:xfrm>
            <a:off x="9557448" y="3630308"/>
            <a:ext cx="2640901" cy="2674962"/>
            <a:chOff x="8751888" y="3030538"/>
            <a:chExt cx="3446462" cy="3490913"/>
          </a:xfrm>
          <a:solidFill>
            <a:schemeClr val="bg2"/>
          </a:solidFill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05AEDEF5-EF6A-3786-1898-11A7B4D67D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B48B5423-D79D-A870-B332-830D2CFD4B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A215C7BC-AD3A-FDA5-BBE4-2B07E79DE7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84170E1D-4367-1F8D-BE5A-1664CACBE6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EDD0BCCE-1016-C6D6-53F2-8F48EED1C2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E4A903BB-B536-932E-3CCC-D8E81E7871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70974395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 Blue">
    <p:bg>
      <p:bgPr>
        <a:solidFill>
          <a:srgbClr val="E5F2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43784" y="2135826"/>
            <a:ext cx="5239445" cy="2450040"/>
          </a:xfrm>
        </p:spPr>
        <p:txBody>
          <a:bodyPr>
            <a:noAutofit/>
          </a:bodyPr>
          <a:lstStyle>
            <a:lvl1pPr algn="l">
              <a:defRPr sz="4000" b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/>
              <a:t>Click and type quote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243783" y="4801617"/>
            <a:ext cx="5239445" cy="5400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0">
                <a:solidFill>
                  <a:schemeClr val="accent1"/>
                </a:solidFill>
              </a:defRPr>
            </a:lvl1pPr>
            <a:lvl2pPr marL="257191" indent="0">
              <a:buFontTx/>
              <a:buNone/>
              <a:defRPr b="1">
                <a:solidFill>
                  <a:schemeClr val="accent4"/>
                </a:solidFill>
              </a:defRPr>
            </a:lvl2pPr>
            <a:lvl3pPr marL="514382" indent="0">
              <a:buFontTx/>
              <a:buNone/>
              <a:defRPr b="1">
                <a:solidFill>
                  <a:schemeClr val="accent4"/>
                </a:solidFill>
              </a:defRPr>
            </a:lvl3pPr>
            <a:lvl4pPr marL="771574" indent="0">
              <a:buFontTx/>
              <a:buNone/>
              <a:defRPr b="1">
                <a:solidFill>
                  <a:schemeClr val="accent4"/>
                </a:solidFill>
              </a:defRPr>
            </a:lvl4pPr>
            <a:lvl5pPr marL="1028765" indent="0">
              <a:buFontTx/>
              <a:buNone/>
              <a:defRPr b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grpSp>
        <p:nvGrpSpPr>
          <p:cNvPr id="14" name="Quote">
            <a:extLst>
              <a:ext uri="{FF2B5EF4-FFF2-40B4-BE49-F238E27FC236}">
                <a16:creationId xmlns:a16="http://schemas.microsoft.com/office/drawing/2014/main" id="{36288991-A23D-A2A3-792C-522E9B30EAE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14439" y="639606"/>
            <a:ext cx="2291716" cy="1548000"/>
            <a:chOff x="2817011" y="265837"/>
            <a:chExt cx="2614377" cy="1765949"/>
          </a:xfrm>
          <a:solidFill>
            <a:schemeClr val="accent3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A346AE66-BCC3-63A1-734B-97BBE232913B}"/>
                </a:ext>
              </a:extLst>
            </p:cNvPr>
            <p:cNvSpPr/>
            <p:nvPr/>
          </p:nvSpPr>
          <p:spPr>
            <a:xfrm>
              <a:off x="2817011" y="265837"/>
              <a:ext cx="1236586" cy="1765949"/>
            </a:xfrm>
            <a:custGeom>
              <a:avLst/>
              <a:gdLst>
                <a:gd name="connsiteX0" fmla="*/ 1212545 w 1236586"/>
                <a:gd name="connsiteY0" fmla="*/ 482239 h 1765949"/>
                <a:gd name="connsiteX1" fmla="*/ 933272 w 1236586"/>
                <a:gd name="connsiteY1" fmla="*/ 98000 h 1765949"/>
                <a:gd name="connsiteX2" fmla="*/ 391109 w 1236586"/>
                <a:gd name="connsiteY2" fmla="*/ 29611 h 1765949"/>
                <a:gd name="connsiteX3" fmla="*/ 41732 w 1236586"/>
                <a:gd name="connsiteY3" fmla="*/ 331839 h 1765949"/>
                <a:gd name="connsiteX4" fmla="*/ 76879 w 1236586"/>
                <a:gd name="connsiteY4" fmla="*/ 772275 h 1765949"/>
                <a:gd name="connsiteX5" fmla="*/ 291287 w 1236586"/>
                <a:gd name="connsiteY5" fmla="*/ 947249 h 1765949"/>
                <a:gd name="connsiteX6" fmla="*/ 598373 w 1236586"/>
                <a:gd name="connsiteY6" fmla="*/ 984683 h 1765949"/>
                <a:gd name="connsiteX7" fmla="*/ 415016 w 1236586"/>
                <a:gd name="connsiteY7" fmla="*/ 1376636 h 1765949"/>
                <a:gd name="connsiteX8" fmla="*/ 197561 w 1236586"/>
                <a:gd name="connsiteY8" fmla="*/ 1504938 h 1765949"/>
                <a:gd name="connsiteX9" fmla="*/ 264902 w 1236586"/>
                <a:gd name="connsiteY9" fmla="*/ 1643717 h 1765949"/>
                <a:gd name="connsiteX10" fmla="*/ 308146 w 1236586"/>
                <a:gd name="connsiteY10" fmla="*/ 1732871 h 1765949"/>
                <a:gd name="connsiteX11" fmla="*/ 324338 w 1236586"/>
                <a:gd name="connsiteY11" fmla="*/ 1765733 h 1765949"/>
                <a:gd name="connsiteX12" fmla="*/ 338150 w 1236586"/>
                <a:gd name="connsiteY12" fmla="*/ 1762494 h 1765949"/>
                <a:gd name="connsiteX13" fmla="*/ 371011 w 1236586"/>
                <a:gd name="connsiteY13" fmla="*/ 1753731 h 1765949"/>
                <a:gd name="connsiteX14" fmla="*/ 481406 w 1236586"/>
                <a:gd name="connsiteY14" fmla="*/ 1716965 h 1765949"/>
                <a:gd name="connsiteX15" fmla="*/ 806780 w 1236586"/>
                <a:gd name="connsiteY15" fmla="*/ 1542086 h 1765949"/>
                <a:gd name="connsiteX16" fmla="*/ 1115771 w 1236586"/>
                <a:gd name="connsiteY16" fmla="*/ 1192518 h 1765949"/>
                <a:gd name="connsiteX17" fmla="*/ 1207592 w 1236586"/>
                <a:gd name="connsiteY17" fmla="*/ 937629 h 1765949"/>
                <a:gd name="connsiteX18" fmla="*/ 1229594 w 1236586"/>
                <a:gd name="connsiteY18" fmla="*/ 567869 h 1765949"/>
                <a:gd name="connsiteX19" fmla="*/ 1212545 w 1236586"/>
                <a:gd name="connsiteY19" fmla="*/ 482048 h 1765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36586" h="1765949">
                  <a:moveTo>
                    <a:pt x="1212545" y="482239"/>
                  </a:moveTo>
                  <a:cubicBezTo>
                    <a:pt x="1179112" y="321743"/>
                    <a:pt x="1071098" y="183725"/>
                    <a:pt x="933272" y="98000"/>
                  </a:cubicBezTo>
                  <a:cubicBezTo>
                    <a:pt x="771347" y="-2774"/>
                    <a:pt x="572655" y="-26301"/>
                    <a:pt x="391109" y="29611"/>
                  </a:cubicBezTo>
                  <a:cubicBezTo>
                    <a:pt x="241185" y="75807"/>
                    <a:pt x="106978" y="188678"/>
                    <a:pt x="41732" y="331839"/>
                  </a:cubicBezTo>
                  <a:cubicBezTo>
                    <a:pt x="-23324" y="474524"/>
                    <a:pt x="-12847" y="642354"/>
                    <a:pt x="76879" y="772275"/>
                  </a:cubicBezTo>
                  <a:cubicBezTo>
                    <a:pt x="129838" y="848951"/>
                    <a:pt x="204038" y="912674"/>
                    <a:pt x="291287" y="947249"/>
                  </a:cubicBezTo>
                  <a:cubicBezTo>
                    <a:pt x="387299" y="985254"/>
                    <a:pt x="496169" y="997732"/>
                    <a:pt x="598373" y="984683"/>
                  </a:cubicBezTo>
                  <a:cubicBezTo>
                    <a:pt x="608183" y="1133082"/>
                    <a:pt x="523792" y="1282244"/>
                    <a:pt x="415016" y="1376636"/>
                  </a:cubicBezTo>
                  <a:cubicBezTo>
                    <a:pt x="351008" y="1432167"/>
                    <a:pt x="276047" y="1473791"/>
                    <a:pt x="197561" y="1504938"/>
                  </a:cubicBezTo>
                  <a:cubicBezTo>
                    <a:pt x="220040" y="1551230"/>
                    <a:pt x="242423" y="1597521"/>
                    <a:pt x="264902" y="1643717"/>
                  </a:cubicBezTo>
                  <a:cubicBezTo>
                    <a:pt x="279285" y="1673435"/>
                    <a:pt x="293763" y="1703153"/>
                    <a:pt x="308146" y="1732871"/>
                  </a:cubicBezTo>
                  <a:cubicBezTo>
                    <a:pt x="310908" y="1738491"/>
                    <a:pt x="318433" y="1763161"/>
                    <a:pt x="324338" y="1765733"/>
                  </a:cubicBezTo>
                  <a:cubicBezTo>
                    <a:pt x="326815" y="1766876"/>
                    <a:pt x="335578" y="1763161"/>
                    <a:pt x="338150" y="1762494"/>
                  </a:cubicBezTo>
                  <a:cubicBezTo>
                    <a:pt x="349199" y="1759827"/>
                    <a:pt x="360152" y="1756874"/>
                    <a:pt x="371011" y="1753731"/>
                  </a:cubicBezTo>
                  <a:cubicBezTo>
                    <a:pt x="408349" y="1743158"/>
                    <a:pt x="445115" y="1730776"/>
                    <a:pt x="481406" y="1716965"/>
                  </a:cubicBezTo>
                  <a:cubicBezTo>
                    <a:pt x="596753" y="1673150"/>
                    <a:pt x="707148" y="1614952"/>
                    <a:pt x="806780" y="1542086"/>
                  </a:cubicBezTo>
                  <a:cubicBezTo>
                    <a:pt x="933462" y="1449407"/>
                    <a:pt x="1041952" y="1331583"/>
                    <a:pt x="1115771" y="1192518"/>
                  </a:cubicBezTo>
                  <a:cubicBezTo>
                    <a:pt x="1158252" y="1112413"/>
                    <a:pt x="1188923" y="1026307"/>
                    <a:pt x="1207592" y="937629"/>
                  </a:cubicBezTo>
                  <a:cubicBezTo>
                    <a:pt x="1232833" y="817709"/>
                    <a:pt x="1245406" y="689693"/>
                    <a:pt x="1229594" y="567869"/>
                  </a:cubicBezTo>
                  <a:cubicBezTo>
                    <a:pt x="1225784" y="538913"/>
                    <a:pt x="1220355" y="510147"/>
                    <a:pt x="1212545" y="48204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A75C50E4-F6DE-940D-DE91-F853D2F0A642}"/>
                </a:ext>
              </a:extLst>
            </p:cNvPr>
            <p:cNvSpPr/>
            <p:nvPr/>
          </p:nvSpPr>
          <p:spPr>
            <a:xfrm>
              <a:off x="4194682" y="265837"/>
              <a:ext cx="1236706" cy="1765949"/>
            </a:xfrm>
            <a:custGeom>
              <a:avLst/>
              <a:gdLst>
                <a:gd name="connsiteX0" fmla="*/ 1212665 w 1236706"/>
                <a:gd name="connsiteY0" fmla="*/ 482239 h 1765949"/>
                <a:gd name="connsiteX1" fmla="*/ 933392 w 1236706"/>
                <a:gd name="connsiteY1" fmla="*/ 98000 h 1765949"/>
                <a:gd name="connsiteX2" fmla="*/ 391229 w 1236706"/>
                <a:gd name="connsiteY2" fmla="*/ 29611 h 1765949"/>
                <a:gd name="connsiteX3" fmla="*/ 41852 w 1236706"/>
                <a:gd name="connsiteY3" fmla="*/ 331839 h 1765949"/>
                <a:gd name="connsiteX4" fmla="*/ 76999 w 1236706"/>
                <a:gd name="connsiteY4" fmla="*/ 772275 h 1765949"/>
                <a:gd name="connsiteX5" fmla="*/ 291407 w 1236706"/>
                <a:gd name="connsiteY5" fmla="*/ 947249 h 1765949"/>
                <a:gd name="connsiteX6" fmla="*/ 598493 w 1236706"/>
                <a:gd name="connsiteY6" fmla="*/ 984683 h 1765949"/>
                <a:gd name="connsiteX7" fmla="*/ 415137 w 1236706"/>
                <a:gd name="connsiteY7" fmla="*/ 1376636 h 1765949"/>
                <a:gd name="connsiteX8" fmla="*/ 197681 w 1236706"/>
                <a:gd name="connsiteY8" fmla="*/ 1504938 h 1765949"/>
                <a:gd name="connsiteX9" fmla="*/ 265023 w 1236706"/>
                <a:gd name="connsiteY9" fmla="*/ 1643717 h 1765949"/>
                <a:gd name="connsiteX10" fmla="*/ 308266 w 1236706"/>
                <a:gd name="connsiteY10" fmla="*/ 1732871 h 1765949"/>
                <a:gd name="connsiteX11" fmla="*/ 324459 w 1236706"/>
                <a:gd name="connsiteY11" fmla="*/ 1765733 h 1765949"/>
                <a:gd name="connsiteX12" fmla="*/ 338270 w 1236706"/>
                <a:gd name="connsiteY12" fmla="*/ 1762494 h 1765949"/>
                <a:gd name="connsiteX13" fmla="*/ 371131 w 1236706"/>
                <a:gd name="connsiteY13" fmla="*/ 1753731 h 1765949"/>
                <a:gd name="connsiteX14" fmla="*/ 481526 w 1236706"/>
                <a:gd name="connsiteY14" fmla="*/ 1716965 h 1765949"/>
                <a:gd name="connsiteX15" fmla="*/ 806900 w 1236706"/>
                <a:gd name="connsiteY15" fmla="*/ 1542086 h 1765949"/>
                <a:gd name="connsiteX16" fmla="*/ 1115891 w 1236706"/>
                <a:gd name="connsiteY16" fmla="*/ 1192518 h 1765949"/>
                <a:gd name="connsiteX17" fmla="*/ 1207712 w 1236706"/>
                <a:gd name="connsiteY17" fmla="*/ 937629 h 1765949"/>
                <a:gd name="connsiteX18" fmla="*/ 1229715 w 1236706"/>
                <a:gd name="connsiteY18" fmla="*/ 567869 h 1765949"/>
                <a:gd name="connsiteX19" fmla="*/ 1212665 w 1236706"/>
                <a:gd name="connsiteY19" fmla="*/ 482048 h 1765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36706" h="1765949">
                  <a:moveTo>
                    <a:pt x="1212665" y="482239"/>
                  </a:moveTo>
                  <a:cubicBezTo>
                    <a:pt x="1179232" y="321743"/>
                    <a:pt x="1071219" y="183725"/>
                    <a:pt x="933392" y="98000"/>
                  </a:cubicBezTo>
                  <a:cubicBezTo>
                    <a:pt x="771467" y="-2774"/>
                    <a:pt x="572871" y="-26301"/>
                    <a:pt x="391229" y="29611"/>
                  </a:cubicBezTo>
                  <a:cubicBezTo>
                    <a:pt x="241305" y="75807"/>
                    <a:pt x="107193" y="188678"/>
                    <a:pt x="41852" y="331839"/>
                  </a:cubicBezTo>
                  <a:cubicBezTo>
                    <a:pt x="-23490" y="475000"/>
                    <a:pt x="-12726" y="642354"/>
                    <a:pt x="76999" y="772275"/>
                  </a:cubicBezTo>
                  <a:cubicBezTo>
                    <a:pt x="129958" y="848951"/>
                    <a:pt x="204158" y="912674"/>
                    <a:pt x="291407" y="947249"/>
                  </a:cubicBezTo>
                  <a:cubicBezTo>
                    <a:pt x="387419" y="985254"/>
                    <a:pt x="496290" y="997732"/>
                    <a:pt x="598493" y="984683"/>
                  </a:cubicBezTo>
                  <a:cubicBezTo>
                    <a:pt x="608304" y="1133082"/>
                    <a:pt x="523912" y="1282244"/>
                    <a:pt x="415137" y="1376636"/>
                  </a:cubicBezTo>
                  <a:cubicBezTo>
                    <a:pt x="351129" y="1432167"/>
                    <a:pt x="276167" y="1473791"/>
                    <a:pt x="197681" y="1504938"/>
                  </a:cubicBezTo>
                  <a:cubicBezTo>
                    <a:pt x="220160" y="1551230"/>
                    <a:pt x="242544" y="1597521"/>
                    <a:pt x="265023" y="1643717"/>
                  </a:cubicBezTo>
                  <a:cubicBezTo>
                    <a:pt x="279406" y="1673435"/>
                    <a:pt x="293884" y="1703153"/>
                    <a:pt x="308266" y="1732871"/>
                  </a:cubicBezTo>
                  <a:cubicBezTo>
                    <a:pt x="311028" y="1738491"/>
                    <a:pt x="318553" y="1763161"/>
                    <a:pt x="324459" y="1765733"/>
                  </a:cubicBezTo>
                  <a:cubicBezTo>
                    <a:pt x="326935" y="1766876"/>
                    <a:pt x="335698" y="1763161"/>
                    <a:pt x="338270" y="1762494"/>
                  </a:cubicBezTo>
                  <a:cubicBezTo>
                    <a:pt x="349319" y="1759827"/>
                    <a:pt x="360273" y="1756874"/>
                    <a:pt x="371131" y="1753731"/>
                  </a:cubicBezTo>
                  <a:cubicBezTo>
                    <a:pt x="408469" y="1743158"/>
                    <a:pt x="445236" y="1730776"/>
                    <a:pt x="481526" y="1716965"/>
                  </a:cubicBezTo>
                  <a:cubicBezTo>
                    <a:pt x="596874" y="1673150"/>
                    <a:pt x="707268" y="1614952"/>
                    <a:pt x="806900" y="1542086"/>
                  </a:cubicBezTo>
                  <a:cubicBezTo>
                    <a:pt x="933582" y="1449407"/>
                    <a:pt x="1042072" y="1331583"/>
                    <a:pt x="1115891" y="1192518"/>
                  </a:cubicBezTo>
                  <a:cubicBezTo>
                    <a:pt x="1158373" y="1112413"/>
                    <a:pt x="1189043" y="1026307"/>
                    <a:pt x="1207712" y="937629"/>
                  </a:cubicBezTo>
                  <a:cubicBezTo>
                    <a:pt x="1232953" y="817709"/>
                    <a:pt x="1245526" y="689693"/>
                    <a:pt x="1229715" y="567869"/>
                  </a:cubicBezTo>
                  <a:cubicBezTo>
                    <a:pt x="1225905" y="538913"/>
                    <a:pt x="1220475" y="510147"/>
                    <a:pt x="1212665" y="48204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74001946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43784" y="2135826"/>
            <a:ext cx="5239445" cy="2450040"/>
          </a:xfrm>
        </p:spPr>
        <p:txBody>
          <a:bodyPr>
            <a:noAutofit/>
          </a:bodyPr>
          <a:lstStyle>
            <a:lvl1pPr algn="l">
              <a:defRPr sz="4000" b="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GB"/>
              <a:t>Click and type quote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243783" y="4801617"/>
            <a:ext cx="5239445" cy="5400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0">
                <a:solidFill>
                  <a:schemeClr val="accent4"/>
                </a:solidFill>
              </a:defRPr>
            </a:lvl1pPr>
            <a:lvl2pPr marL="257191" indent="0">
              <a:buFontTx/>
              <a:buNone/>
              <a:defRPr b="1">
                <a:solidFill>
                  <a:schemeClr val="accent4"/>
                </a:solidFill>
              </a:defRPr>
            </a:lvl2pPr>
            <a:lvl3pPr marL="514382" indent="0">
              <a:buFontTx/>
              <a:buNone/>
              <a:defRPr b="1">
                <a:solidFill>
                  <a:schemeClr val="accent4"/>
                </a:solidFill>
              </a:defRPr>
            </a:lvl3pPr>
            <a:lvl4pPr marL="771574" indent="0">
              <a:buFontTx/>
              <a:buNone/>
              <a:defRPr b="1">
                <a:solidFill>
                  <a:schemeClr val="accent4"/>
                </a:solidFill>
              </a:defRPr>
            </a:lvl4pPr>
            <a:lvl5pPr marL="1028765" indent="0">
              <a:buFontTx/>
              <a:buNone/>
              <a:defRPr b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grpSp>
        <p:nvGrpSpPr>
          <p:cNvPr id="14" name="Quote">
            <a:extLst>
              <a:ext uri="{FF2B5EF4-FFF2-40B4-BE49-F238E27FC236}">
                <a16:creationId xmlns:a16="http://schemas.microsoft.com/office/drawing/2014/main" id="{36288991-A23D-A2A3-792C-522E9B30EAE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14439" y="639606"/>
            <a:ext cx="2291716" cy="1548000"/>
            <a:chOff x="2817011" y="265837"/>
            <a:chExt cx="2614377" cy="1765949"/>
          </a:xfrm>
          <a:solidFill>
            <a:schemeClr val="bg2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A346AE66-BCC3-63A1-734B-97BBE232913B}"/>
                </a:ext>
              </a:extLst>
            </p:cNvPr>
            <p:cNvSpPr/>
            <p:nvPr/>
          </p:nvSpPr>
          <p:spPr>
            <a:xfrm>
              <a:off x="2817011" y="265837"/>
              <a:ext cx="1236586" cy="1765949"/>
            </a:xfrm>
            <a:custGeom>
              <a:avLst/>
              <a:gdLst>
                <a:gd name="connsiteX0" fmla="*/ 1212545 w 1236586"/>
                <a:gd name="connsiteY0" fmla="*/ 482239 h 1765949"/>
                <a:gd name="connsiteX1" fmla="*/ 933272 w 1236586"/>
                <a:gd name="connsiteY1" fmla="*/ 98000 h 1765949"/>
                <a:gd name="connsiteX2" fmla="*/ 391109 w 1236586"/>
                <a:gd name="connsiteY2" fmla="*/ 29611 h 1765949"/>
                <a:gd name="connsiteX3" fmla="*/ 41732 w 1236586"/>
                <a:gd name="connsiteY3" fmla="*/ 331839 h 1765949"/>
                <a:gd name="connsiteX4" fmla="*/ 76879 w 1236586"/>
                <a:gd name="connsiteY4" fmla="*/ 772275 h 1765949"/>
                <a:gd name="connsiteX5" fmla="*/ 291287 w 1236586"/>
                <a:gd name="connsiteY5" fmla="*/ 947249 h 1765949"/>
                <a:gd name="connsiteX6" fmla="*/ 598373 w 1236586"/>
                <a:gd name="connsiteY6" fmla="*/ 984683 h 1765949"/>
                <a:gd name="connsiteX7" fmla="*/ 415016 w 1236586"/>
                <a:gd name="connsiteY7" fmla="*/ 1376636 h 1765949"/>
                <a:gd name="connsiteX8" fmla="*/ 197561 w 1236586"/>
                <a:gd name="connsiteY8" fmla="*/ 1504938 h 1765949"/>
                <a:gd name="connsiteX9" fmla="*/ 264902 w 1236586"/>
                <a:gd name="connsiteY9" fmla="*/ 1643717 h 1765949"/>
                <a:gd name="connsiteX10" fmla="*/ 308146 w 1236586"/>
                <a:gd name="connsiteY10" fmla="*/ 1732871 h 1765949"/>
                <a:gd name="connsiteX11" fmla="*/ 324338 w 1236586"/>
                <a:gd name="connsiteY11" fmla="*/ 1765733 h 1765949"/>
                <a:gd name="connsiteX12" fmla="*/ 338150 w 1236586"/>
                <a:gd name="connsiteY12" fmla="*/ 1762494 h 1765949"/>
                <a:gd name="connsiteX13" fmla="*/ 371011 w 1236586"/>
                <a:gd name="connsiteY13" fmla="*/ 1753731 h 1765949"/>
                <a:gd name="connsiteX14" fmla="*/ 481406 w 1236586"/>
                <a:gd name="connsiteY14" fmla="*/ 1716965 h 1765949"/>
                <a:gd name="connsiteX15" fmla="*/ 806780 w 1236586"/>
                <a:gd name="connsiteY15" fmla="*/ 1542086 h 1765949"/>
                <a:gd name="connsiteX16" fmla="*/ 1115771 w 1236586"/>
                <a:gd name="connsiteY16" fmla="*/ 1192518 h 1765949"/>
                <a:gd name="connsiteX17" fmla="*/ 1207592 w 1236586"/>
                <a:gd name="connsiteY17" fmla="*/ 937629 h 1765949"/>
                <a:gd name="connsiteX18" fmla="*/ 1229594 w 1236586"/>
                <a:gd name="connsiteY18" fmla="*/ 567869 h 1765949"/>
                <a:gd name="connsiteX19" fmla="*/ 1212545 w 1236586"/>
                <a:gd name="connsiteY19" fmla="*/ 482048 h 1765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36586" h="1765949">
                  <a:moveTo>
                    <a:pt x="1212545" y="482239"/>
                  </a:moveTo>
                  <a:cubicBezTo>
                    <a:pt x="1179112" y="321743"/>
                    <a:pt x="1071098" y="183725"/>
                    <a:pt x="933272" y="98000"/>
                  </a:cubicBezTo>
                  <a:cubicBezTo>
                    <a:pt x="771347" y="-2774"/>
                    <a:pt x="572655" y="-26301"/>
                    <a:pt x="391109" y="29611"/>
                  </a:cubicBezTo>
                  <a:cubicBezTo>
                    <a:pt x="241185" y="75807"/>
                    <a:pt x="106978" y="188678"/>
                    <a:pt x="41732" y="331839"/>
                  </a:cubicBezTo>
                  <a:cubicBezTo>
                    <a:pt x="-23324" y="474524"/>
                    <a:pt x="-12847" y="642354"/>
                    <a:pt x="76879" y="772275"/>
                  </a:cubicBezTo>
                  <a:cubicBezTo>
                    <a:pt x="129838" y="848951"/>
                    <a:pt x="204038" y="912674"/>
                    <a:pt x="291287" y="947249"/>
                  </a:cubicBezTo>
                  <a:cubicBezTo>
                    <a:pt x="387299" y="985254"/>
                    <a:pt x="496169" y="997732"/>
                    <a:pt x="598373" y="984683"/>
                  </a:cubicBezTo>
                  <a:cubicBezTo>
                    <a:pt x="608183" y="1133082"/>
                    <a:pt x="523792" y="1282244"/>
                    <a:pt x="415016" y="1376636"/>
                  </a:cubicBezTo>
                  <a:cubicBezTo>
                    <a:pt x="351008" y="1432167"/>
                    <a:pt x="276047" y="1473791"/>
                    <a:pt x="197561" y="1504938"/>
                  </a:cubicBezTo>
                  <a:cubicBezTo>
                    <a:pt x="220040" y="1551230"/>
                    <a:pt x="242423" y="1597521"/>
                    <a:pt x="264902" y="1643717"/>
                  </a:cubicBezTo>
                  <a:cubicBezTo>
                    <a:pt x="279285" y="1673435"/>
                    <a:pt x="293763" y="1703153"/>
                    <a:pt x="308146" y="1732871"/>
                  </a:cubicBezTo>
                  <a:cubicBezTo>
                    <a:pt x="310908" y="1738491"/>
                    <a:pt x="318433" y="1763161"/>
                    <a:pt x="324338" y="1765733"/>
                  </a:cubicBezTo>
                  <a:cubicBezTo>
                    <a:pt x="326815" y="1766876"/>
                    <a:pt x="335578" y="1763161"/>
                    <a:pt x="338150" y="1762494"/>
                  </a:cubicBezTo>
                  <a:cubicBezTo>
                    <a:pt x="349199" y="1759827"/>
                    <a:pt x="360152" y="1756874"/>
                    <a:pt x="371011" y="1753731"/>
                  </a:cubicBezTo>
                  <a:cubicBezTo>
                    <a:pt x="408349" y="1743158"/>
                    <a:pt x="445115" y="1730776"/>
                    <a:pt x="481406" y="1716965"/>
                  </a:cubicBezTo>
                  <a:cubicBezTo>
                    <a:pt x="596753" y="1673150"/>
                    <a:pt x="707148" y="1614952"/>
                    <a:pt x="806780" y="1542086"/>
                  </a:cubicBezTo>
                  <a:cubicBezTo>
                    <a:pt x="933462" y="1449407"/>
                    <a:pt x="1041952" y="1331583"/>
                    <a:pt x="1115771" y="1192518"/>
                  </a:cubicBezTo>
                  <a:cubicBezTo>
                    <a:pt x="1158252" y="1112413"/>
                    <a:pt x="1188923" y="1026307"/>
                    <a:pt x="1207592" y="937629"/>
                  </a:cubicBezTo>
                  <a:cubicBezTo>
                    <a:pt x="1232833" y="817709"/>
                    <a:pt x="1245406" y="689693"/>
                    <a:pt x="1229594" y="567869"/>
                  </a:cubicBezTo>
                  <a:cubicBezTo>
                    <a:pt x="1225784" y="538913"/>
                    <a:pt x="1220355" y="510147"/>
                    <a:pt x="1212545" y="48204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A75C50E4-F6DE-940D-DE91-F853D2F0A642}"/>
                </a:ext>
              </a:extLst>
            </p:cNvPr>
            <p:cNvSpPr/>
            <p:nvPr/>
          </p:nvSpPr>
          <p:spPr>
            <a:xfrm>
              <a:off x="4194682" y="265837"/>
              <a:ext cx="1236706" cy="1765949"/>
            </a:xfrm>
            <a:custGeom>
              <a:avLst/>
              <a:gdLst>
                <a:gd name="connsiteX0" fmla="*/ 1212665 w 1236706"/>
                <a:gd name="connsiteY0" fmla="*/ 482239 h 1765949"/>
                <a:gd name="connsiteX1" fmla="*/ 933392 w 1236706"/>
                <a:gd name="connsiteY1" fmla="*/ 98000 h 1765949"/>
                <a:gd name="connsiteX2" fmla="*/ 391229 w 1236706"/>
                <a:gd name="connsiteY2" fmla="*/ 29611 h 1765949"/>
                <a:gd name="connsiteX3" fmla="*/ 41852 w 1236706"/>
                <a:gd name="connsiteY3" fmla="*/ 331839 h 1765949"/>
                <a:gd name="connsiteX4" fmla="*/ 76999 w 1236706"/>
                <a:gd name="connsiteY4" fmla="*/ 772275 h 1765949"/>
                <a:gd name="connsiteX5" fmla="*/ 291407 w 1236706"/>
                <a:gd name="connsiteY5" fmla="*/ 947249 h 1765949"/>
                <a:gd name="connsiteX6" fmla="*/ 598493 w 1236706"/>
                <a:gd name="connsiteY6" fmla="*/ 984683 h 1765949"/>
                <a:gd name="connsiteX7" fmla="*/ 415137 w 1236706"/>
                <a:gd name="connsiteY7" fmla="*/ 1376636 h 1765949"/>
                <a:gd name="connsiteX8" fmla="*/ 197681 w 1236706"/>
                <a:gd name="connsiteY8" fmla="*/ 1504938 h 1765949"/>
                <a:gd name="connsiteX9" fmla="*/ 265023 w 1236706"/>
                <a:gd name="connsiteY9" fmla="*/ 1643717 h 1765949"/>
                <a:gd name="connsiteX10" fmla="*/ 308266 w 1236706"/>
                <a:gd name="connsiteY10" fmla="*/ 1732871 h 1765949"/>
                <a:gd name="connsiteX11" fmla="*/ 324459 w 1236706"/>
                <a:gd name="connsiteY11" fmla="*/ 1765733 h 1765949"/>
                <a:gd name="connsiteX12" fmla="*/ 338270 w 1236706"/>
                <a:gd name="connsiteY12" fmla="*/ 1762494 h 1765949"/>
                <a:gd name="connsiteX13" fmla="*/ 371131 w 1236706"/>
                <a:gd name="connsiteY13" fmla="*/ 1753731 h 1765949"/>
                <a:gd name="connsiteX14" fmla="*/ 481526 w 1236706"/>
                <a:gd name="connsiteY14" fmla="*/ 1716965 h 1765949"/>
                <a:gd name="connsiteX15" fmla="*/ 806900 w 1236706"/>
                <a:gd name="connsiteY15" fmla="*/ 1542086 h 1765949"/>
                <a:gd name="connsiteX16" fmla="*/ 1115891 w 1236706"/>
                <a:gd name="connsiteY16" fmla="*/ 1192518 h 1765949"/>
                <a:gd name="connsiteX17" fmla="*/ 1207712 w 1236706"/>
                <a:gd name="connsiteY17" fmla="*/ 937629 h 1765949"/>
                <a:gd name="connsiteX18" fmla="*/ 1229715 w 1236706"/>
                <a:gd name="connsiteY18" fmla="*/ 567869 h 1765949"/>
                <a:gd name="connsiteX19" fmla="*/ 1212665 w 1236706"/>
                <a:gd name="connsiteY19" fmla="*/ 482048 h 1765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36706" h="1765949">
                  <a:moveTo>
                    <a:pt x="1212665" y="482239"/>
                  </a:moveTo>
                  <a:cubicBezTo>
                    <a:pt x="1179232" y="321743"/>
                    <a:pt x="1071219" y="183725"/>
                    <a:pt x="933392" y="98000"/>
                  </a:cubicBezTo>
                  <a:cubicBezTo>
                    <a:pt x="771467" y="-2774"/>
                    <a:pt x="572871" y="-26301"/>
                    <a:pt x="391229" y="29611"/>
                  </a:cubicBezTo>
                  <a:cubicBezTo>
                    <a:pt x="241305" y="75807"/>
                    <a:pt x="107193" y="188678"/>
                    <a:pt x="41852" y="331839"/>
                  </a:cubicBezTo>
                  <a:cubicBezTo>
                    <a:pt x="-23490" y="475000"/>
                    <a:pt x="-12726" y="642354"/>
                    <a:pt x="76999" y="772275"/>
                  </a:cubicBezTo>
                  <a:cubicBezTo>
                    <a:pt x="129958" y="848951"/>
                    <a:pt x="204158" y="912674"/>
                    <a:pt x="291407" y="947249"/>
                  </a:cubicBezTo>
                  <a:cubicBezTo>
                    <a:pt x="387419" y="985254"/>
                    <a:pt x="496290" y="997732"/>
                    <a:pt x="598493" y="984683"/>
                  </a:cubicBezTo>
                  <a:cubicBezTo>
                    <a:pt x="608304" y="1133082"/>
                    <a:pt x="523912" y="1282244"/>
                    <a:pt x="415137" y="1376636"/>
                  </a:cubicBezTo>
                  <a:cubicBezTo>
                    <a:pt x="351129" y="1432167"/>
                    <a:pt x="276167" y="1473791"/>
                    <a:pt x="197681" y="1504938"/>
                  </a:cubicBezTo>
                  <a:cubicBezTo>
                    <a:pt x="220160" y="1551230"/>
                    <a:pt x="242544" y="1597521"/>
                    <a:pt x="265023" y="1643717"/>
                  </a:cubicBezTo>
                  <a:cubicBezTo>
                    <a:pt x="279406" y="1673435"/>
                    <a:pt x="293884" y="1703153"/>
                    <a:pt x="308266" y="1732871"/>
                  </a:cubicBezTo>
                  <a:cubicBezTo>
                    <a:pt x="311028" y="1738491"/>
                    <a:pt x="318553" y="1763161"/>
                    <a:pt x="324459" y="1765733"/>
                  </a:cubicBezTo>
                  <a:cubicBezTo>
                    <a:pt x="326935" y="1766876"/>
                    <a:pt x="335698" y="1763161"/>
                    <a:pt x="338270" y="1762494"/>
                  </a:cubicBezTo>
                  <a:cubicBezTo>
                    <a:pt x="349319" y="1759827"/>
                    <a:pt x="360273" y="1756874"/>
                    <a:pt x="371131" y="1753731"/>
                  </a:cubicBezTo>
                  <a:cubicBezTo>
                    <a:pt x="408469" y="1743158"/>
                    <a:pt x="445236" y="1730776"/>
                    <a:pt x="481526" y="1716965"/>
                  </a:cubicBezTo>
                  <a:cubicBezTo>
                    <a:pt x="596874" y="1673150"/>
                    <a:pt x="707268" y="1614952"/>
                    <a:pt x="806900" y="1542086"/>
                  </a:cubicBezTo>
                  <a:cubicBezTo>
                    <a:pt x="933582" y="1449407"/>
                    <a:pt x="1042072" y="1331583"/>
                    <a:pt x="1115891" y="1192518"/>
                  </a:cubicBezTo>
                  <a:cubicBezTo>
                    <a:pt x="1158373" y="1112413"/>
                    <a:pt x="1189043" y="1026307"/>
                    <a:pt x="1207712" y="937629"/>
                  </a:cubicBezTo>
                  <a:cubicBezTo>
                    <a:pt x="1232953" y="817709"/>
                    <a:pt x="1245526" y="689693"/>
                    <a:pt x="1229715" y="567869"/>
                  </a:cubicBezTo>
                  <a:cubicBezTo>
                    <a:pt x="1225905" y="538913"/>
                    <a:pt x="1220475" y="510147"/>
                    <a:pt x="1212665" y="48204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5" name="Logotype, static">
            <a:extLst>
              <a:ext uri="{FF2B5EF4-FFF2-40B4-BE49-F238E27FC236}">
                <a16:creationId xmlns:a16="http://schemas.microsoft.com/office/drawing/2014/main" id="{ED491FC6-D7FC-0600-9C48-CD411A9E4887}"/>
              </a:ext>
            </a:extLst>
          </p:cNvPr>
          <p:cNvSpPr>
            <a:spLocks noChangeAspect="1"/>
          </p:cNvSpPr>
          <p:nvPr userDrawn="1"/>
        </p:nvSpPr>
        <p:spPr>
          <a:xfrm>
            <a:off x="10689559" y="6389370"/>
            <a:ext cx="864000" cy="180067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7868029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1339200"/>
            <a:ext cx="5436000" cy="1301642"/>
          </a:xfrm>
        </p:spPr>
        <p:txBody>
          <a:bodyPr/>
          <a:lstStyle>
            <a:lvl1pPr>
              <a:defRPr sz="4000">
                <a:solidFill>
                  <a:srgbClr val="FBD9CA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2761403"/>
            <a:ext cx="5436000" cy="10800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 b="1">
                <a:solidFill>
                  <a:srgbClr val="FFFFFF"/>
                </a:solidFill>
                <a:latin typeface="+mj-lt"/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48000" y="4299045"/>
            <a:ext cx="5436000" cy="825689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050">
                <a:solidFill>
                  <a:schemeClr val="bg1"/>
                </a:solidFill>
              </a:defRPr>
            </a:lvl1pPr>
            <a:lvl2pPr marL="257191" indent="0">
              <a:buNone/>
              <a:defRPr sz="900">
                <a:solidFill>
                  <a:schemeClr val="bg1"/>
                </a:solidFill>
              </a:defRPr>
            </a:lvl2pPr>
            <a:lvl3pPr marL="514382" indent="0">
              <a:buNone/>
              <a:defRPr sz="900">
                <a:solidFill>
                  <a:schemeClr val="bg1"/>
                </a:solidFill>
              </a:defRPr>
            </a:lvl3pPr>
            <a:lvl4pPr marL="771574" indent="0">
              <a:buNone/>
              <a:defRPr sz="900">
                <a:solidFill>
                  <a:schemeClr val="bg1"/>
                </a:solidFill>
              </a:defRPr>
            </a:lvl4pPr>
            <a:lvl5pPr marL="1028765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Disclaimer text</a:t>
            </a:r>
          </a:p>
        </p:txBody>
      </p:sp>
      <p:grpSp>
        <p:nvGrpSpPr>
          <p:cNvPr id="16" name="Pulse"/>
          <p:cNvGrpSpPr/>
          <p:nvPr userDrawn="1"/>
        </p:nvGrpSpPr>
        <p:grpSpPr>
          <a:xfrm>
            <a:off x="9557448" y="3630308"/>
            <a:ext cx="2640901" cy="2674962"/>
            <a:chOff x="8751888" y="3030538"/>
            <a:chExt cx="3446462" cy="3490913"/>
          </a:xfrm>
          <a:solidFill>
            <a:schemeClr val="bg2"/>
          </a:solidFill>
        </p:grpSpPr>
        <p:sp>
          <p:nvSpPr>
            <p:cNvPr id="17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" name="Logotype">
            <a:extLst>
              <a:ext uri="{FF2B5EF4-FFF2-40B4-BE49-F238E27FC236}">
                <a16:creationId xmlns:a16="http://schemas.microsoft.com/office/drawing/2014/main" id="{9C78D250-5250-69CE-D117-F4F588675F43}"/>
              </a:ext>
            </a:extLst>
          </p:cNvPr>
          <p:cNvSpPr>
            <a:spLocks noChangeAspect="1"/>
          </p:cNvSpPr>
          <p:nvPr userDrawn="1"/>
        </p:nvSpPr>
        <p:spPr>
          <a:xfrm>
            <a:off x="641350" y="530890"/>
            <a:ext cx="1386000" cy="450119"/>
          </a:xfrm>
          <a:custGeom>
            <a:avLst/>
            <a:gdLst>
              <a:gd name="connsiteX0" fmla="*/ 720090 w 1296352"/>
              <a:gd name="connsiteY0" fmla="*/ 368618 h 421005"/>
              <a:gd name="connsiteX1" fmla="*/ 711518 w 1296352"/>
              <a:gd name="connsiteY1" fmla="*/ 392431 h 421005"/>
              <a:gd name="connsiteX2" fmla="*/ 710565 w 1296352"/>
              <a:gd name="connsiteY2" fmla="*/ 394336 h 421005"/>
              <a:gd name="connsiteX3" fmla="*/ 729615 w 1296352"/>
              <a:gd name="connsiteY3" fmla="*/ 394336 h 421005"/>
              <a:gd name="connsiteX4" fmla="*/ 728663 w 1296352"/>
              <a:gd name="connsiteY4" fmla="*/ 392431 h 421005"/>
              <a:gd name="connsiteX5" fmla="*/ 720090 w 1296352"/>
              <a:gd name="connsiteY5" fmla="*/ 368618 h 421005"/>
              <a:gd name="connsiteX6" fmla="*/ 565785 w 1296352"/>
              <a:gd name="connsiteY6" fmla="*/ 368618 h 421005"/>
              <a:gd name="connsiteX7" fmla="*/ 557213 w 1296352"/>
              <a:gd name="connsiteY7" fmla="*/ 392431 h 421005"/>
              <a:gd name="connsiteX8" fmla="*/ 556260 w 1296352"/>
              <a:gd name="connsiteY8" fmla="*/ 394336 h 421005"/>
              <a:gd name="connsiteX9" fmla="*/ 575310 w 1296352"/>
              <a:gd name="connsiteY9" fmla="*/ 394336 h 421005"/>
              <a:gd name="connsiteX10" fmla="*/ 574357 w 1296352"/>
              <a:gd name="connsiteY10" fmla="*/ 392431 h 421005"/>
              <a:gd name="connsiteX11" fmla="*/ 565785 w 1296352"/>
              <a:gd name="connsiteY11" fmla="*/ 368618 h 421005"/>
              <a:gd name="connsiteX12" fmla="*/ 100012 w 1296352"/>
              <a:gd name="connsiteY12" fmla="*/ 368618 h 421005"/>
              <a:gd name="connsiteX13" fmla="*/ 91440 w 1296352"/>
              <a:gd name="connsiteY13" fmla="*/ 392431 h 421005"/>
              <a:gd name="connsiteX14" fmla="*/ 90487 w 1296352"/>
              <a:gd name="connsiteY14" fmla="*/ 394336 h 421005"/>
              <a:gd name="connsiteX15" fmla="*/ 109537 w 1296352"/>
              <a:gd name="connsiteY15" fmla="*/ 394336 h 421005"/>
              <a:gd name="connsiteX16" fmla="*/ 108585 w 1296352"/>
              <a:gd name="connsiteY16" fmla="*/ 392431 h 421005"/>
              <a:gd name="connsiteX17" fmla="*/ 100012 w 1296352"/>
              <a:gd name="connsiteY17" fmla="*/ 368618 h 421005"/>
              <a:gd name="connsiteX18" fmla="*/ 915353 w 1296352"/>
              <a:gd name="connsiteY18" fmla="*/ 356236 h 421005"/>
              <a:gd name="connsiteX19" fmla="*/ 933451 w 1296352"/>
              <a:gd name="connsiteY19" fmla="*/ 356236 h 421005"/>
              <a:gd name="connsiteX20" fmla="*/ 942976 w 1296352"/>
              <a:gd name="connsiteY20" fmla="*/ 381953 h 421005"/>
              <a:gd name="connsiteX21" fmla="*/ 950596 w 1296352"/>
              <a:gd name="connsiteY21" fmla="*/ 401956 h 421005"/>
              <a:gd name="connsiteX22" fmla="*/ 958215 w 1296352"/>
              <a:gd name="connsiteY22" fmla="*/ 381953 h 421005"/>
              <a:gd name="connsiteX23" fmla="*/ 967740 w 1296352"/>
              <a:gd name="connsiteY23" fmla="*/ 356236 h 421005"/>
              <a:gd name="connsiteX24" fmla="*/ 986790 w 1296352"/>
              <a:gd name="connsiteY24" fmla="*/ 356236 h 421005"/>
              <a:gd name="connsiteX25" fmla="*/ 986790 w 1296352"/>
              <a:gd name="connsiteY25" fmla="*/ 419101 h 421005"/>
              <a:gd name="connsiteX26" fmla="*/ 973455 w 1296352"/>
              <a:gd name="connsiteY26" fmla="*/ 419101 h 421005"/>
              <a:gd name="connsiteX27" fmla="*/ 973455 w 1296352"/>
              <a:gd name="connsiteY27" fmla="*/ 396241 h 421005"/>
              <a:gd name="connsiteX28" fmla="*/ 973455 w 1296352"/>
              <a:gd name="connsiteY28" fmla="*/ 370523 h 421005"/>
              <a:gd name="connsiteX29" fmla="*/ 963930 w 1296352"/>
              <a:gd name="connsiteY29" fmla="*/ 396241 h 421005"/>
              <a:gd name="connsiteX30" fmla="*/ 955358 w 1296352"/>
              <a:gd name="connsiteY30" fmla="*/ 419101 h 421005"/>
              <a:gd name="connsiteX31" fmla="*/ 945833 w 1296352"/>
              <a:gd name="connsiteY31" fmla="*/ 419101 h 421005"/>
              <a:gd name="connsiteX32" fmla="*/ 937260 w 1296352"/>
              <a:gd name="connsiteY32" fmla="*/ 396241 h 421005"/>
              <a:gd name="connsiteX33" fmla="*/ 927735 w 1296352"/>
              <a:gd name="connsiteY33" fmla="*/ 371476 h 421005"/>
              <a:gd name="connsiteX34" fmla="*/ 927735 w 1296352"/>
              <a:gd name="connsiteY34" fmla="*/ 397193 h 421005"/>
              <a:gd name="connsiteX35" fmla="*/ 927735 w 1296352"/>
              <a:gd name="connsiteY35" fmla="*/ 420053 h 421005"/>
              <a:gd name="connsiteX36" fmla="*/ 915353 w 1296352"/>
              <a:gd name="connsiteY36" fmla="*/ 420053 h 421005"/>
              <a:gd name="connsiteX37" fmla="*/ 445770 w 1296352"/>
              <a:gd name="connsiteY37" fmla="*/ 356236 h 421005"/>
              <a:gd name="connsiteX38" fmla="*/ 463868 w 1296352"/>
              <a:gd name="connsiteY38" fmla="*/ 356236 h 421005"/>
              <a:gd name="connsiteX39" fmla="*/ 473393 w 1296352"/>
              <a:gd name="connsiteY39" fmla="*/ 381953 h 421005"/>
              <a:gd name="connsiteX40" fmla="*/ 481013 w 1296352"/>
              <a:gd name="connsiteY40" fmla="*/ 401956 h 421005"/>
              <a:gd name="connsiteX41" fmla="*/ 488633 w 1296352"/>
              <a:gd name="connsiteY41" fmla="*/ 381953 h 421005"/>
              <a:gd name="connsiteX42" fmla="*/ 498158 w 1296352"/>
              <a:gd name="connsiteY42" fmla="*/ 356236 h 421005"/>
              <a:gd name="connsiteX43" fmla="*/ 516255 w 1296352"/>
              <a:gd name="connsiteY43" fmla="*/ 356236 h 421005"/>
              <a:gd name="connsiteX44" fmla="*/ 516255 w 1296352"/>
              <a:gd name="connsiteY44" fmla="*/ 419101 h 421005"/>
              <a:gd name="connsiteX45" fmla="*/ 502920 w 1296352"/>
              <a:gd name="connsiteY45" fmla="*/ 419101 h 421005"/>
              <a:gd name="connsiteX46" fmla="*/ 502920 w 1296352"/>
              <a:gd name="connsiteY46" fmla="*/ 396241 h 421005"/>
              <a:gd name="connsiteX47" fmla="*/ 502920 w 1296352"/>
              <a:gd name="connsiteY47" fmla="*/ 370523 h 421005"/>
              <a:gd name="connsiteX48" fmla="*/ 493395 w 1296352"/>
              <a:gd name="connsiteY48" fmla="*/ 396241 h 421005"/>
              <a:gd name="connsiteX49" fmla="*/ 484822 w 1296352"/>
              <a:gd name="connsiteY49" fmla="*/ 419101 h 421005"/>
              <a:gd name="connsiteX50" fmla="*/ 475297 w 1296352"/>
              <a:gd name="connsiteY50" fmla="*/ 419101 h 421005"/>
              <a:gd name="connsiteX51" fmla="*/ 467678 w 1296352"/>
              <a:gd name="connsiteY51" fmla="*/ 396241 h 421005"/>
              <a:gd name="connsiteX52" fmla="*/ 458153 w 1296352"/>
              <a:gd name="connsiteY52" fmla="*/ 371476 h 421005"/>
              <a:gd name="connsiteX53" fmla="*/ 458153 w 1296352"/>
              <a:gd name="connsiteY53" fmla="*/ 397193 h 421005"/>
              <a:gd name="connsiteX54" fmla="*/ 458153 w 1296352"/>
              <a:gd name="connsiteY54" fmla="*/ 420053 h 421005"/>
              <a:gd name="connsiteX55" fmla="*/ 445770 w 1296352"/>
              <a:gd name="connsiteY55" fmla="*/ 420053 h 421005"/>
              <a:gd name="connsiteX56" fmla="*/ 1158240 w 1296352"/>
              <a:gd name="connsiteY56" fmla="*/ 355283 h 421005"/>
              <a:gd name="connsiteX57" fmla="*/ 1208723 w 1296352"/>
              <a:gd name="connsiteY57" fmla="*/ 355283 h 421005"/>
              <a:gd name="connsiteX58" fmla="*/ 1208723 w 1296352"/>
              <a:gd name="connsiteY58" fmla="*/ 366713 h 421005"/>
              <a:gd name="connsiteX59" fmla="*/ 1189673 w 1296352"/>
              <a:gd name="connsiteY59" fmla="*/ 366713 h 421005"/>
              <a:gd name="connsiteX60" fmla="*/ 1189673 w 1296352"/>
              <a:gd name="connsiteY60" fmla="*/ 419101 h 421005"/>
              <a:gd name="connsiteX61" fmla="*/ 1176338 w 1296352"/>
              <a:gd name="connsiteY61" fmla="*/ 419101 h 421005"/>
              <a:gd name="connsiteX62" fmla="*/ 1176338 w 1296352"/>
              <a:gd name="connsiteY62" fmla="*/ 366713 h 421005"/>
              <a:gd name="connsiteX63" fmla="*/ 1158240 w 1296352"/>
              <a:gd name="connsiteY63" fmla="*/ 366713 h 421005"/>
              <a:gd name="connsiteX64" fmla="*/ 1084897 w 1296352"/>
              <a:gd name="connsiteY64" fmla="*/ 355283 h 421005"/>
              <a:gd name="connsiteX65" fmla="*/ 1099185 w 1296352"/>
              <a:gd name="connsiteY65" fmla="*/ 355283 h 421005"/>
              <a:gd name="connsiteX66" fmla="*/ 1113472 w 1296352"/>
              <a:gd name="connsiteY66" fmla="*/ 377191 h 421005"/>
              <a:gd name="connsiteX67" fmla="*/ 1125855 w 1296352"/>
              <a:gd name="connsiteY67" fmla="*/ 397193 h 421005"/>
              <a:gd name="connsiteX68" fmla="*/ 1125855 w 1296352"/>
              <a:gd name="connsiteY68" fmla="*/ 355283 h 421005"/>
              <a:gd name="connsiteX69" fmla="*/ 1138237 w 1296352"/>
              <a:gd name="connsiteY69" fmla="*/ 355283 h 421005"/>
              <a:gd name="connsiteX70" fmla="*/ 1138237 w 1296352"/>
              <a:gd name="connsiteY70" fmla="*/ 419101 h 421005"/>
              <a:gd name="connsiteX71" fmla="*/ 1126807 w 1296352"/>
              <a:gd name="connsiteY71" fmla="*/ 419101 h 421005"/>
              <a:gd name="connsiteX72" fmla="*/ 1111567 w 1296352"/>
              <a:gd name="connsiteY72" fmla="*/ 395288 h 421005"/>
              <a:gd name="connsiteX73" fmla="*/ 1097280 w 1296352"/>
              <a:gd name="connsiteY73" fmla="*/ 373381 h 421005"/>
              <a:gd name="connsiteX74" fmla="*/ 1097280 w 1296352"/>
              <a:gd name="connsiteY74" fmla="*/ 419101 h 421005"/>
              <a:gd name="connsiteX75" fmla="*/ 1084897 w 1296352"/>
              <a:gd name="connsiteY75" fmla="*/ 419101 h 421005"/>
              <a:gd name="connsiteX76" fmla="*/ 1013460 w 1296352"/>
              <a:gd name="connsiteY76" fmla="*/ 355283 h 421005"/>
              <a:gd name="connsiteX77" fmla="*/ 1057275 w 1296352"/>
              <a:gd name="connsiteY77" fmla="*/ 355283 h 421005"/>
              <a:gd name="connsiteX78" fmla="*/ 1057275 w 1296352"/>
              <a:gd name="connsiteY78" fmla="*/ 366713 h 421005"/>
              <a:gd name="connsiteX79" fmla="*/ 1026795 w 1296352"/>
              <a:gd name="connsiteY79" fmla="*/ 366713 h 421005"/>
              <a:gd name="connsiteX80" fmla="*/ 1026795 w 1296352"/>
              <a:gd name="connsiteY80" fmla="*/ 381001 h 421005"/>
              <a:gd name="connsiteX81" fmla="*/ 1054418 w 1296352"/>
              <a:gd name="connsiteY81" fmla="*/ 381001 h 421005"/>
              <a:gd name="connsiteX82" fmla="*/ 1054418 w 1296352"/>
              <a:gd name="connsiteY82" fmla="*/ 392431 h 421005"/>
              <a:gd name="connsiteX83" fmla="*/ 1026795 w 1296352"/>
              <a:gd name="connsiteY83" fmla="*/ 392431 h 421005"/>
              <a:gd name="connsiteX84" fmla="*/ 1026795 w 1296352"/>
              <a:gd name="connsiteY84" fmla="*/ 407671 h 421005"/>
              <a:gd name="connsiteX85" fmla="*/ 1058227 w 1296352"/>
              <a:gd name="connsiteY85" fmla="*/ 407671 h 421005"/>
              <a:gd name="connsiteX86" fmla="*/ 1058227 w 1296352"/>
              <a:gd name="connsiteY86" fmla="*/ 419101 h 421005"/>
              <a:gd name="connsiteX87" fmla="*/ 1013460 w 1296352"/>
              <a:gd name="connsiteY87" fmla="*/ 419101 h 421005"/>
              <a:gd name="connsiteX88" fmla="*/ 845820 w 1296352"/>
              <a:gd name="connsiteY88" fmla="*/ 355283 h 421005"/>
              <a:gd name="connsiteX89" fmla="*/ 889635 w 1296352"/>
              <a:gd name="connsiteY89" fmla="*/ 355283 h 421005"/>
              <a:gd name="connsiteX90" fmla="*/ 889635 w 1296352"/>
              <a:gd name="connsiteY90" fmla="*/ 366713 h 421005"/>
              <a:gd name="connsiteX91" fmla="*/ 859155 w 1296352"/>
              <a:gd name="connsiteY91" fmla="*/ 366713 h 421005"/>
              <a:gd name="connsiteX92" fmla="*/ 859155 w 1296352"/>
              <a:gd name="connsiteY92" fmla="*/ 381001 h 421005"/>
              <a:gd name="connsiteX93" fmla="*/ 886778 w 1296352"/>
              <a:gd name="connsiteY93" fmla="*/ 381001 h 421005"/>
              <a:gd name="connsiteX94" fmla="*/ 886778 w 1296352"/>
              <a:gd name="connsiteY94" fmla="*/ 392431 h 421005"/>
              <a:gd name="connsiteX95" fmla="*/ 859155 w 1296352"/>
              <a:gd name="connsiteY95" fmla="*/ 392431 h 421005"/>
              <a:gd name="connsiteX96" fmla="*/ 859155 w 1296352"/>
              <a:gd name="connsiteY96" fmla="*/ 407671 h 421005"/>
              <a:gd name="connsiteX97" fmla="*/ 890588 w 1296352"/>
              <a:gd name="connsiteY97" fmla="*/ 407671 h 421005"/>
              <a:gd name="connsiteX98" fmla="*/ 890588 w 1296352"/>
              <a:gd name="connsiteY98" fmla="*/ 419101 h 421005"/>
              <a:gd name="connsiteX99" fmla="*/ 845820 w 1296352"/>
              <a:gd name="connsiteY99" fmla="*/ 419101 h 421005"/>
              <a:gd name="connsiteX100" fmla="*/ 713423 w 1296352"/>
              <a:gd name="connsiteY100" fmla="*/ 355283 h 421005"/>
              <a:gd name="connsiteX101" fmla="*/ 729615 w 1296352"/>
              <a:gd name="connsiteY101" fmla="*/ 355283 h 421005"/>
              <a:gd name="connsiteX102" fmla="*/ 753428 w 1296352"/>
              <a:gd name="connsiteY102" fmla="*/ 419101 h 421005"/>
              <a:gd name="connsiteX103" fmla="*/ 739140 w 1296352"/>
              <a:gd name="connsiteY103" fmla="*/ 419101 h 421005"/>
              <a:gd name="connsiteX104" fmla="*/ 734378 w 1296352"/>
              <a:gd name="connsiteY104" fmla="*/ 405766 h 421005"/>
              <a:gd name="connsiteX105" fmla="*/ 707708 w 1296352"/>
              <a:gd name="connsiteY105" fmla="*/ 405766 h 421005"/>
              <a:gd name="connsiteX106" fmla="*/ 702945 w 1296352"/>
              <a:gd name="connsiteY106" fmla="*/ 419101 h 421005"/>
              <a:gd name="connsiteX107" fmla="*/ 689610 w 1296352"/>
              <a:gd name="connsiteY107" fmla="*/ 419101 h 421005"/>
              <a:gd name="connsiteX108" fmla="*/ 617220 w 1296352"/>
              <a:gd name="connsiteY108" fmla="*/ 355283 h 421005"/>
              <a:gd name="connsiteX109" fmla="*/ 631508 w 1296352"/>
              <a:gd name="connsiteY109" fmla="*/ 355283 h 421005"/>
              <a:gd name="connsiteX110" fmla="*/ 645795 w 1296352"/>
              <a:gd name="connsiteY110" fmla="*/ 377191 h 421005"/>
              <a:gd name="connsiteX111" fmla="*/ 658178 w 1296352"/>
              <a:gd name="connsiteY111" fmla="*/ 397193 h 421005"/>
              <a:gd name="connsiteX112" fmla="*/ 658178 w 1296352"/>
              <a:gd name="connsiteY112" fmla="*/ 355283 h 421005"/>
              <a:gd name="connsiteX113" fmla="*/ 670560 w 1296352"/>
              <a:gd name="connsiteY113" fmla="*/ 355283 h 421005"/>
              <a:gd name="connsiteX114" fmla="*/ 670560 w 1296352"/>
              <a:gd name="connsiteY114" fmla="*/ 419101 h 421005"/>
              <a:gd name="connsiteX115" fmla="*/ 659130 w 1296352"/>
              <a:gd name="connsiteY115" fmla="*/ 419101 h 421005"/>
              <a:gd name="connsiteX116" fmla="*/ 643890 w 1296352"/>
              <a:gd name="connsiteY116" fmla="*/ 395288 h 421005"/>
              <a:gd name="connsiteX117" fmla="*/ 629603 w 1296352"/>
              <a:gd name="connsiteY117" fmla="*/ 373381 h 421005"/>
              <a:gd name="connsiteX118" fmla="*/ 629603 w 1296352"/>
              <a:gd name="connsiteY118" fmla="*/ 419101 h 421005"/>
              <a:gd name="connsiteX119" fmla="*/ 617220 w 1296352"/>
              <a:gd name="connsiteY119" fmla="*/ 419101 h 421005"/>
              <a:gd name="connsiteX120" fmla="*/ 559118 w 1296352"/>
              <a:gd name="connsiteY120" fmla="*/ 355283 h 421005"/>
              <a:gd name="connsiteX121" fmla="*/ 575310 w 1296352"/>
              <a:gd name="connsiteY121" fmla="*/ 355283 h 421005"/>
              <a:gd name="connsiteX122" fmla="*/ 599122 w 1296352"/>
              <a:gd name="connsiteY122" fmla="*/ 419101 h 421005"/>
              <a:gd name="connsiteX123" fmla="*/ 584835 w 1296352"/>
              <a:gd name="connsiteY123" fmla="*/ 419101 h 421005"/>
              <a:gd name="connsiteX124" fmla="*/ 580072 w 1296352"/>
              <a:gd name="connsiteY124" fmla="*/ 405766 h 421005"/>
              <a:gd name="connsiteX125" fmla="*/ 553403 w 1296352"/>
              <a:gd name="connsiteY125" fmla="*/ 405766 h 421005"/>
              <a:gd name="connsiteX126" fmla="*/ 548640 w 1296352"/>
              <a:gd name="connsiteY126" fmla="*/ 419101 h 421005"/>
              <a:gd name="connsiteX127" fmla="*/ 535305 w 1296352"/>
              <a:gd name="connsiteY127" fmla="*/ 419101 h 421005"/>
              <a:gd name="connsiteX128" fmla="*/ 338137 w 1296352"/>
              <a:gd name="connsiteY128" fmla="*/ 355283 h 421005"/>
              <a:gd name="connsiteX129" fmla="*/ 388619 w 1296352"/>
              <a:gd name="connsiteY129" fmla="*/ 355283 h 421005"/>
              <a:gd name="connsiteX130" fmla="*/ 388619 w 1296352"/>
              <a:gd name="connsiteY130" fmla="*/ 366713 h 421005"/>
              <a:gd name="connsiteX131" fmla="*/ 369569 w 1296352"/>
              <a:gd name="connsiteY131" fmla="*/ 366713 h 421005"/>
              <a:gd name="connsiteX132" fmla="*/ 369569 w 1296352"/>
              <a:gd name="connsiteY132" fmla="*/ 419101 h 421005"/>
              <a:gd name="connsiteX133" fmla="*/ 356234 w 1296352"/>
              <a:gd name="connsiteY133" fmla="*/ 419101 h 421005"/>
              <a:gd name="connsiteX134" fmla="*/ 356234 w 1296352"/>
              <a:gd name="connsiteY134" fmla="*/ 366713 h 421005"/>
              <a:gd name="connsiteX135" fmla="*/ 338137 w 1296352"/>
              <a:gd name="connsiteY135" fmla="*/ 366713 h 421005"/>
              <a:gd name="connsiteX136" fmla="*/ 274320 w 1296352"/>
              <a:gd name="connsiteY136" fmla="*/ 355283 h 421005"/>
              <a:gd name="connsiteX137" fmla="*/ 318135 w 1296352"/>
              <a:gd name="connsiteY137" fmla="*/ 355283 h 421005"/>
              <a:gd name="connsiteX138" fmla="*/ 318135 w 1296352"/>
              <a:gd name="connsiteY138" fmla="*/ 366713 h 421005"/>
              <a:gd name="connsiteX139" fmla="*/ 287655 w 1296352"/>
              <a:gd name="connsiteY139" fmla="*/ 366713 h 421005"/>
              <a:gd name="connsiteX140" fmla="*/ 287655 w 1296352"/>
              <a:gd name="connsiteY140" fmla="*/ 381001 h 421005"/>
              <a:gd name="connsiteX141" fmla="*/ 315278 w 1296352"/>
              <a:gd name="connsiteY141" fmla="*/ 381001 h 421005"/>
              <a:gd name="connsiteX142" fmla="*/ 315278 w 1296352"/>
              <a:gd name="connsiteY142" fmla="*/ 392431 h 421005"/>
              <a:gd name="connsiteX143" fmla="*/ 287655 w 1296352"/>
              <a:gd name="connsiteY143" fmla="*/ 392431 h 421005"/>
              <a:gd name="connsiteX144" fmla="*/ 287655 w 1296352"/>
              <a:gd name="connsiteY144" fmla="*/ 407671 h 421005"/>
              <a:gd name="connsiteX145" fmla="*/ 319088 w 1296352"/>
              <a:gd name="connsiteY145" fmla="*/ 407671 h 421005"/>
              <a:gd name="connsiteX146" fmla="*/ 319088 w 1296352"/>
              <a:gd name="connsiteY146" fmla="*/ 419101 h 421005"/>
              <a:gd name="connsiteX147" fmla="*/ 274320 w 1296352"/>
              <a:gd name="connsiteY147" fmla="*/ 419101 h 421005"/>
              <a:gd name="connsiteX148" fmla="*/ 92393 w 1296352"/>
              <a:gd name="connsiteY148" fmla="*/ 355283 h 421005"/>
              <a:gd name="connsiteX149" fmla="*/ 108585 w 1296352"/>
              <a:gd name="connsiteY149" fmla="*/ 355283 h 421005"/>
              <a:gd name="connsiteX150" fmla="*/ 132398 w 1296352"/>
              <a:gd name="connsiteY150" fmla="*/ 419101 h 421005"/>
              <a:gd name="connsiteX151" fmla="*/ 118110 w 1296352"/>
              <a:gd name="connsiteY151" fmla="*/ 419101 h 421005"/>
              <a:gd name="connsiteX152" fmla="*/ 113348 w 1296352"/>
              <a:gd name="connsiteY152" fmla="*/ 405766 h 421005"/>
              <a:gd name="connsiteX153" fmla="*/ 86678 w 1296352"/>
              <a:gd name="connsiteY153" fmla="*/ 405766 h 421005"/>
              <a:gd name="connsiteX154" fmla="*/ 81915 w 1296352"/>
              <a:gd name="connsiteY154" fmla="*/ 419101 h 421005"/>
              <a:gd name="connsiteX155" fmla="*/ 68580 w 1296352"/>
              <a:gd name="connsiteY155" fmla="*/ 419101 h 421005"/>
              <a:gd name="connsiteX156" fmla="*/ 797242 w 1296352"/>
              <a:gd name="connsiteY156" fmla="*/ 354330 h 421005"/>
              <a:gd name="connsiteX157" fmla="*/ 818197 w 1296352"/>
              <a:gd name="connsiteY157" fmla="*/ 360998 h 421005"/>
              <a:gd name="connsiteX158" fmla="*/ 810577 w 1296352"/>
              <a:gd name="connsiteY158" fmla="*/ 370523 h 421005"/>
              <a:gd name="connsiteX159" fmla="*/ 796290 w 1296352"/>
              <a:gd name="connsiteY159" fmla="*/ 365760 h 421005"/>
              <a:gd name="connsiteX160" fmla="*/ 778192 w 1296352"/>
              <a:gd name="connsiteY160" fmla="*/ 386715 h 421005"/>
              <a:gd name="connsiteX161" fmla="*/ 796290 w 1296352"/>
              <a:gd name="connsiteY161" fmla="*/ 408623 h 421005"/>
              <a:gd name="connsiteX162" fmla="*/ 806767 w 1296352"/>
              <a:gd name="connsiteY162" fmla="*/ 405765 h 421005"/>
              <a:gd name="connsiteX163" fmla="*/ 806767 w 1296352"/>
              <a:gd name="connsiteY163" fmla="*/ 393382 h 421005"/>
              <a:gd name="connsiteX164" fmla="*/ 792480 w 1296352"/>
              <a:gd name="connsiteY164" fmla="*/ 393382 h 421005"/>
              <a:gd name="connsiteX165" fmla="*/ 792480 w 1296352"/>
              <a:gd name="connsiteY165" fmla="*/ 381953 h 421005"/>
              <a:gd name="connsiteX166" fmla="*/ 820102 w 1296352"/>
              <a:gd name="connsiteY166" fmla="*/ 381953 h 421005"/>
              <a:gd name="connsiteX167" fmla="*/ 820102 w 1296352"/>
              <a:gd name="connsiteY167" fmla="*/ 382905 h 421005"/>
              <a:gd name="connsiteX168" fmla="*/ 820102 w 1296352"/>
              <a:gd name="connsiteY168" fmla="*/ 411480 h 421005"/>
              <a:gd name="connsiteX169" fmla="*/ 796290 w 1296352"/>
              <a:gd name="connsiteY169" fmla="*/ 421005 h 421005"/>
              <a:gd name="connsiteX170" fmla="*/ 764857 w 1296352"/>
              <a:gd name="connsiteY170" fmla="*/ 387668 h 421005"/>
              <a:gd name="connsiteX171" fmla="*/ 797242 w 1296352"/>
              <a:gd name="connsiteY171" fmla="*/ 354330 h 421005"/>
              <a:gd name="connsiteX172" fmla="*/ 232411 w 1296352"/>
              <a:gd name="connsiteY172" fmla="*/ 354330 h 421005"/>
              <a:gd name="connsiteX173" fmla="*/ 253366 w 1296352"/>
              <a:gd name="connsiteY173" fmla="*/ 360998 h 421005"/>
              <a:gd name="connsiteX174" fmla="*/ 246698 w 1296352"/>
              <a:gd name="connsiteY174" fmla="*/ 370523 h 421005"/>
              <a:gd name="connsiteX175" fmla="*/ 231458 w 1296352"/>
              <a:gd name="connsiteY175" fmla="*/ 365760 h 421005"/>
              <a:gd name="connsiteX176" fmla="*/ 220981 w 1296352"/>
              <a:gd name="connsiteY176" fmla="*/ 372428 h 421005"/>
              <a:gd name="connsiteX177" fmla="*/ 234316 w 1296352"/>
              <a:gd name="connsiteY177" fmla="*/ 381000 h 421005"/>
              <a:gd name="connsiteX178" fmla="*/ 254318 w 1296352"/>
              <a:gd name="connsiteY178" fmla="*/ 400050 h 421005"/>
              <a:gd name="connsiteX179" fmla="*/ 230506 w 1296352"/>
              <a:gd name="connsiteY179" fmla="*/ 420053 h 421005"/>
              <a:gd name="connsiteX180" fmla="*/ 206693 w 1296352"/>
              <a:gd name="connsiteY180" fmla="*/ 411480 h 421005"/>
              <a:gd name="connsiteX181" fmla="*/ 213361 w 1296352"/>
              <a:gd name="connsiteY181" fmla="*/ 401955 h 421005"/>
              <a:gd name="connsiteX182" fmla="*/ 231458 w 1296352"/>
              <a:gd name="connsiteY182" fmla="*/ 408623 h 421005"/>
              <a:gd name="connsiteX183" fmla="*/ 241936 w 1296352"/>
              <a:gd name="connsiteY183" fmla="*/ 401003 h 421005"/>
              <a:gd name="connsiteX184" fmla="*/ 229553 w 1296352"/>
              <a:gd name="connsiteY184" fmla="*/ 392430 h 421005"/>
              <a:gd name="connsiteX185" fmla="*/ 208598 w 1296352"/>
              <a:gd name="connsiteY185" fmla="*/ 373380 h 421005"/>
              <a:gd name="connsiteX186" fmla="*/ 232411 w 1296352"/>
              <a:gd name="connsiteY186" fmla="*/ 354330 h 421005"/>
              <a:gd name="connsiteX187" fmla="*/ 169545 w 1296352"/>
              <a:gd name="connsiteY187" fmla="*/ 354330 h 421005"/>
              <a:gd name="connsiteX188" fmla="*/ 190500 w 1296352"/>
              <a:gd name="connsiteY188" fmla="*/ 360998 h 421005"/>
              <a:gd name="connsiteX189" fmla="*/ 183833 w 1296352"/>
              <a:gd name="connsiteY189" fmla="*/ 370523 h 421005"/>
              <a:gd name="connsiteX190" fmla="*/ 168593 w 1296352"/>
              <a:gd name="connsiteY190" fmla="*/ 365760 h 421005"/>
              <a:gd name="connsiteX191" fmla="*/ 158116 w 1296352"/>
              <a:gd name="connsiteY191" fmla="*/ 372428 h 421005"/>
              <a:gd name="connsiteX192" fmla="*/ 171450 w 1296352"/>
              <a:gd name="connsiteY192" fmla="*/ 381000 h 421005"/>
              <a:gd name="connsiteX193" fmla="*/ 191453 w 1296352"/>
              <a:gd name="connsiteY193" fmla="*/ 400050 h 421005"/>
              <a:gd name="connsiteX194" fmla="*/ 167641 w 1296352"/>
              <a:gd name="connsiteY194" fmla="*/ 420053 h 421005"/>
              <a:gd name="connsiteX195" fmla="*/ 143828 w 1296352"/>
              <a:gd name="connsiteY195" fmla="*/ 411480 h 421005"/>
              <a:gd name="connsiteX196" fmla="*/ 150495 w 1296352"/>
              <a:gd name="connsiteY196" fmla="*/ 401955 h 421005"/>
              <a:gd name="connsiteX197" fmla="*/ 168593 w 1296352"/>
              <a:gd name="connsiteY197" fmla="*/ 408623 h 421005"/>
              <a:gd name="connsiteX198" fmla="*/ 179070 w 1296352"/>
              <a:gd name="connsiteY198" fmla="*/ 401003 h 421005"/>
              <a:gd name="connsiteX199" fmla="*/ 166688 w 1296352"/>
              <a:gd name="connsiteY199" fmla="*/ 392430 h 421005"/>
              <a:gd name="connsiteX200" fmla="*/ 145733 w 1296352"/>
              <a:gd name="connsiteY200" fmla="*/ 373380 h 421005"/>
              <a:gd name="connsiteX201" fmla="*/ 169545 w 1296352"/>
              <a:gd name="connsiteY201" fmla="*/ 354330 h 421005"/>
              <a:gd name="connsiteX202" fmla="*/ 367665 w 1296352"/>
              <a:gd name="connsiteY202" fmla="*/ 101918 h 421005"/>
              <a:gd name="connsiteX203" fmla="*/ 306705 w 1296352"/>
              <a:gd name="connsiteY203" fmla="*/ 162878 h 421005"/>
              <a:gd name="connsiteX204" fmla="*/ 367665 w 1296352"/>
              <a:gd name="connsiteY204" fmla="*/ 223838 h 421005"/>
              <a:gd name="connsiteX205" fmla="*/ 428625 w 1296352"/>
              <a:gd name="connsiteY205" fmla="*/ 162878 h 421005"/>
              <a:gd name="connsiteX206" fmla="*/ 367665 w 1296352"/>
              <a:gd name="connsiteY206" fmla="*/ 101918 h 421005"/>
              <a:gd name="connsiteX207" fmla="*/ 1190625 w 1296352"/>
              <a:gd name="connsiteY207" fmla="*/ 100966 h 421005"/>
              <a:gd name="connsiteX208" fmla="*/ 1129665 w 1296352"/>
              <a:gd name="connsiteY208" fmla="*/ 169546 h 421005"/>
              <a:gd name="connsiteX209" fmla="*/ 1183005 w 1296352"/>
              <a:gd name="connsiteY209" fmla="*/ 222886 h 421005"/>
              <a:gd name="connsiteX210" fmla="*/ 1251585 w 1296352"/>
              <a:gd name="connsiteY210" fmla="*/ 165736 h 421005"/>
              <a:gd name="connsiteX211" fmla="*/ 1251585 w 1296352"/>
              <a:gd name="connsiteY211" fmla="*/ 159068 h 421005"/>
              <a:gd name="connsiteX212" fmla="*/ 1190625 w 1296352"/>
              <a:gd name="connsiteY212" fmla="*/ 100966 h 421005"/>
              <a:gd name="connsiteX213" fmla="*/ 718185 w 1296352"/>
              <a:gd name="connsiteY213" fmla="*/ 100965 h 421005"/>
              <a:gd name="connsiteX214" fmla="*/ 657225 w 1296352"/>
              <a:gd name="connsiteY214" fmla="*/ 169545 h 421005"/>
              <a:gd name="connsiteX215" fmla="*/ 710565 w 1296352"/>
              <a:gd name="connsiteY215" fmla="*/ 222885 h 421005"/>
              <a:gd name="connsiteX216" fmla="*/ 779145 w 1296352"/>
              <a:gd name="connsiteY216" fmla="*/ 165735 h 421005"/>
              <a:gd name="connsiteX217" fmla="*/ 779145 w 1296352"/>
              <a:gd name="connsiteY217" fmla="*/ 159067 h 421005"/>
              <a:gd name="connsiteX218" fmla="*/ 718185 w 1296352"/>
              <a:gd name="connsiteY218" fmla="*/ 100965 h 421005"/>
              <a:gd name="connsiteX219" fmla="*/ 962546 w 1296352"/>
              <a:gd name="connsiteY219" fmla="*/ 96694 h 421005"/>
              <a:gd name="connsiteX220" fmla="*/ 939165 w 1296352"/>
              <a:gd name="connsiteY220" fmla="*/ 100966 h 421005"/>
              <a:gd name="connsiteX221" fmla="*/ 897255 w 1296352"/>
              <a:gd name="connsiteY221" fmla="*/ 159068 h 421005"/>
              <a:gd name="connsiteX222" fmla="*/ 1012508 w 1296352"/>
              <a:gd name="connsiteY222" fmla="*/ 127636 h 421005"/>
              <a:gd name="connsiteX223" fmla="*/ 962546 w 1296352"/>
              <a:gd name="connsiteY223" fmla="*/ 96694 h 421005"/>
              <a:gd name="connsiteX224" fmla="*/ 1182052 w 1296352"/>
              <a:gd name="connsiteY224" fmla="*/ 57151 h 421005"/>
              <a:gd name="connsiteX225" fmla="*/ 1296352 w 1296352"/>
              <a:gd name="connsiteY225" fmla="*/ 165736 h 421005"/>
              <a:gd name="connsiteX226" fmla="*/ 1296352 w 1296352"/>
              <a:gd name="connsiteY226" fmla="*/ 266701 h 421005"/>
              <a:gd name="connsiteX227" fmla="*/ 1255395 w 1296352"/>
              <a:gd name="connsiteY227" fmla="*/ 266701 h 421005"/>
              <a:gd name="connsiteX228" fmla="*/ 1255395 w 1296352"/>
              <a:gd name="connsiteY228" fmla="*/ 235268 h 421005"/>
              <a:gd name="connsiteX229" fmla="*/ 1189672 w 1296352"/>
              <a:gd name="connsiteY229" fmla="*/ 269558 h 421005"/>
              <a:gd name="connsiteX230" fmla="*/ 1083945 w 1296352"/>
              <a:gd name="connsiteY230" fmla="*/ 156211 h 421005"/>
              <a:gd name="connsiteX231" fmla="*/ 1182052 w 1296352"/>
              <a:gd name="connsiteY231" fmla="*/ 57151 h 421005"/>
              <a:gd name="connsiteX232" fmla="*/ 957263 w 1296352"/>
              <a:gd name="connsiteY232" fmla="*/ 57151 h 421005"/>
              <a:gd name="connsiteX233" fmla="*/ 1065847 w 1296352"/>
              <a:gd name="connsiteY233" fmla="*/ 152401 h 421005"/>
              <a:gd name="connsiteX234" fmla="*/ 906780 w 1296352"/>
              <a:gd name="connsiteY234" fmla="*/ 196216 h 421005"/>
              <a:gd name="connsiteX235" fmla="*/ 972502 w 1296352"/>
              <a:gd name="connsiteY235" fmla="*/ 227648 h 421005"/>
              <a:gd name="connsiteX236" fmla="*/ 1018222 w 1296352"/>
              <a:gd name="connsiteY236" fmla="*/ 192406 h 421005"/>
              <a:gd name="connsiteX237" fmla="*/ 1059180 w 1296352"/>
              <a:gd name="connsiteY237" fmla="*/ 204788 h 421005"/>
              <a:gd name="connsiteX238" fmla="*/ 960120 w 1296352"/>
              <a:gd name="connsiteY238" fmla="*/ 270511 h 421005"/>
              <a:gd name="connsiteX239" fmla="*/ 853440 w 1296352"/>
              <a:gd name="connsiteY239" fmla="*/ 164783 h 421005"/>
              <a:gd name="connsiteX240" fmla="*/ 957263 w 1296352"/>
              <a:gd name="connsiteY240" fmla="*/ 57151 h 421005"/>
              <a:gd name="connsiteX241" fmla="*/ 606742 w 1296352"/>
              <a:gd name="connsiteY241" fmla="*/ 56198 h 421005"/>
              <a:gd name="connsiteX242" fmla="*/ 606742 w 1296352"/>
              <a:gd name="connsiteY242" fmla="*/ 100013 h 421005"/>
              <a:gd name="connsiteX243" fmla="*/ 547688 w 1296352"/>
              <a:gd name="connsiteY243" fmla="*/ 165736 h 421005"/>
              <a:gd name="connsiteX244" fmla="*/ 547688 w 1296352"/>
              <a:gd name="connsiteY244" fmla="*/ 265748 h 421005"/>
              <a:gd name="connsiteX245" fmla="*/ 501015 w 1296352"/>
              <a:gd name="connsiteY245" fmla="*/ 265748 h 421005"/>
              <a:gd name="connsiteX246" fmla="*/ 501015 w 1296352"/>
              <a:gd name="connsiteY246" fmla="*/ 160021 h 421005"/>
              <a:gd name="connsiteX247" fmla="*/ 501015 w 1296352"/>
              <a:gd name="connsiteY247" fmla="*/ 62866 h 421005"/>
              <a:gd name="connsiteX248" fmla="*/ 546735 w 1296352"/>
              <a:gd name="connsiteY248" fmla="*/ 62866 h 421005"/>
              <a:gd name="connsiteX249" fmla="*/ 546735 w 1296352"/>
              <a:gd name="connsiteY249" fmla="*/ 86678 h 421005"/>
              <a:gd name="connsiteX250" fmla="*/ 606742 w 1296352"/>
              <a:gd name="connsiteY250" fmla="*/ 56198 h 421005"/>
              <a:gd name="connsiteX251" fmla="*/ 367665 w 1296352"/>
              <a:gd name="connsiteY251" fmla="*/ 56198 h 421005"/>
              <a:gd name="connsiteX252" fmla="*/ 474345 w 1296352"/>
              <a:gd name="connsiteY252" fmla="*/ 162878 h 421005"/>
              <a:gd name="connsiteX253" fmla="*/ 367665 w 1296352"/>
              <a:gd name="connsiteY253" fmla="*/ 269558 h 421005"/>
              <a:gd name="connsiteX254" fmla="*/ 260985 w 1296352"/>
              <a:gd name="connsiteY254" fmla="*/ 162878 h 421005"/>
              <a:gd name="connsiteX255" fmla="*/ 367665 w 1296352"/>
              <a:gd name="connsiteY255" fmla="*/ 56198 h 421005"/>
              <a:gd name="connsiteX256" fmla="*/ 0 w 1296352"/>
              <a:gd name="connsiteY256" fmla="*/ 20956 h 421005"/>
              <a:gd name="connsiteX257" fmla="*/ 47625 w 1296352"/>
              <a:gd name="connsiteY257" fmla="*/ 20956 h 421005"/>
              <a:gd name="connsiteX258" fmla="*/ 186690 w 1296352"/>
              <a:gd name="connsiteY258" fmla="*/ 184786 h 421005"/>
              <a:gd name="connsiteX259" fmla="*/ 186690 w 1296352"/>
              <a:gd name="connsiteY259" fmla="*/ 20956 h 421005"/>
              <a:gd name="connsiteX260" fmla="*/ 233363 w 1296352"/>
              <a:gd name="connsiteY260" fmla="*/ 20956 h 421005"/>
              <a:gd name="connsiteX261" fmla="*/ 233363 w 1296352"/>
              <a:gd name="connsiteY261" fmla="*/ 266701 h 421005"/>
              <a:gd name="connsiteX262" fmla="*/ 190500 w 1296352"/>
              <a:gd name="connsiteY262" fmla="*/ 266701 h 421005"/>
              <a:gd name="connsiteX263" fmla="*/ 49530 w 1296352"/>
              <a:gd name="connsiteY263" fmla="*/ 101918 h 421005"/>
              <a:gd name="connsiteX264" fmla="*/ 49530 w 1296352"/>
              <a:gd name="connsiteY264" fmla="*/ 265748 h 421005"/>
              <a:gd name="connsiteX265" fmla="*/ 0 w 1296352"/>
              <a:gd name="connsiteY265" fmla="*/ 265748 h 421005"/>
              <a:gd name="connsiteX266" fmla="*/ 781050 w 1296352"/>
              <a:gd name="connsiteY266" fmla="*/ 0 h 421005"/>
              <a:gd name="connsiteX267" fmla="*/ 824865 w 1296352"/>
              <a:gd name="connsiteY267" fmla="*/ 0 h 421005"/>
              <a:gd name="connsiteX268" fmla="*/ 824865 w 1296352"/>
              <a:gd name="connsiteY268" fmla="*/ 160973 h 421005"/>
              <a:gd name="connsiteX269" fmla="*/ 824865 w 1296352"/>
              <a:gd name="connsiteY269" fmla="*/ 162878 h 421005"/>
              <a:gd name="connsiteX270" fmla="*/ 824865 w 1296352"/>
              <a:gd name="connsiteY270" fmla="*/ 164783 h 421005"/>
              <a:gd name="connsiteX271" fmla="*/ 824865 w 1296352"/>
              <a:gd name="connsiteY271" fmla="*/ 267653 h 421005"/>
              <a:gd name="connsiteX272" fmla="*/ 783908 w 1296352"/>
              <a:gd name="connsiteY272" fmla="*/ 267653 h 421005"/>
              <a:gd name="connsiteX273" fmla="*/ 783908 w 1296352"/>
              <a:gd name="connsiteY273" fmla="*/ 240030 h 421005"/>
              <a:gd name="connsiteX274" fmla="*/ 718185 w 1296352"/>
              <a:gd name="connsiteY274" fmla="*/ 270510 h 421005"/>
              <a:gd name="connsiteX275" fmla="*/ 612458 w 1296352"/>
              <a:gd name="connsiteY275" fmla="*/ 157163 h 421005"/>
              <a:gd name="connsiteX276" fmla="*/ 710565 w 1296352"/>
              <a:gd name="connsiteY276" fmla="*/ 58103 h 421005"/>
              <a:gd name="connsiteX277" fmla="*/ 781050 w 1296352"/>
              <a:gd name="connsiteY277" fmla="*/ 80010 h 42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</a:cxnLst>
            <a:rect l="l" t="t" r="r" b="b"/>
            <a:pathLst>
              <a:path w="1296352" h="421005">
                <a:moveTo>
                  <a:pt x="720090" y="368618"/>
                </a:moveTo>
                <a:cubicBezTo>
                  <a:pt x="717233" y="376238"/>
                  <a:pt x="714375" y="384811"/>
                  <a:pt x="711518" y="392431"/>
                </a:cubicBezTo>
                <a:lnTo>
                  <a:pt x="710565" y="394336"/>
                </a:lnTo>
                <a:lnTo>
                  <a:pt x="729615" y="394336"/>
                </a:lnTo>
                <a:lnTo>
                  <a:pt x="728663" y="392431"/>
                </a:lnTo>
                <a:cubicBezTo>
                  <a:pt x="725805" y="384811"/>
                  <a:pt x="722948" y="376238"/>
                  <a:pt x="720090" y="368618"/>
                </a:cubicBezTo>
                <a:close/>
                <a:moveTo>
                  <a:pt x="565785" y="368618"/>
                </a:moveTo>
                <a:cubicBezTo>
                  <a:pt x="562928" y="376238"/>
                  <a:pt x="560070" y="384811"/>
                  <a:pt x="557213" y="392431"/>
                </a:cubicBezTo>
                <a:lnTo>
                  <a:pt x="556260" y="394336"/>
                </a:lnTo>
                <a:lnTo>
                  <a:pt x="575310" y="394336"/>
                </a:lnTo>
                <a:lnTo>
                  <a:pt x="574357" y="392431"/>
                </a:lnTo>
                <a:cubicBezTo>
                  <a:pt x="571500" y="384811"/>
                  <a:pt x="568643" y="376238"/>
                  <a:pt x="565785" y="368618"/>
                </a:cubicBezTo>
                <a:close/>
                <a:moveTo>
                  <a:pt x="100012" y="368618"/>
                </a:moveTo>
                <a:cubicBezTo>
                  <a:pt x="97155" y="376238"/>
                  <a:pt x="94298" y="384811"/>
                  <a:pt x="91440" y="392431"/>
                </a:cubicBezTo>
                <a:lnTo>
                  <a:pt x="90487" y="394336"/>
                </a:lnTo>
                <a:lnTo>
                  <a:pt x="109537" y="394336"/>
                </a:lnTo>
                <a:lnTo>
                  <a:pt x="108585" y="392431"/>
                </a:lnTo>
                <a:cubicBezTo>
                  <a:pt x="105728" y="384811"/>
                  <a:pt x="102870" y="376238"/>
                  <a:pt x="100012" y="368618"/>
                </a:cubicBezTo>
                <a:close/>
                <a:moveTo>
                  <a:pt x="915353" y="356236"/>
                </a:moveTo>
                <a:lnTo>
                  <a:pt x="933451" y="356236"/>
                </a:lnTo>
                <a:lnTo>
                  <a:pt x="942976" y="381953"/>
                </a:lnTo>
                <a:cubicBezTo>
                  <a:pt x="945833" y="388621"/>
                  <a:pt x="947738" y="395288"/>
                  <a:pt x="950596" y="401956"/>
                </a:cubicBezTo>
                <a:cubicBezTo>
                  <a:pt x="952501" y="395288"/>
                  <a:pt x="955358" y="388621"/>
                  <a:pt x="958215" y="381953"/>
                </a:cubicBezTo>
                <a:lnTo>
                  <a:pt x="967740" y="356236"/>
                </a:lnTo>
                <a:lnTo>
                  <a:pt x="986790" y="356236"/>
                </a:lnTo>
                <a:lnTo>
                  <a:pt x="986790" y="419101"/>
                </a:lnTo>
                <a:lnTo>
                  <a:pt x="973455" y="419101"/>
                </a:lnTo>
                <a:lnTo>
                  <a:pt x="973455" y="396241"/>
                </a:lnTo>
                <a:cubicBezTo>
                  <a:pt x="973455" y="387668"/>
                  <a:pt x="973455" y="379096"/>
                  <a:pt x="973455" y="370523"/>
                </a:cubicBezTo>
                <a:cubicBezTo>
                  <a:pt x="970598" y="379096"/>
                  <a:pt x="967740" y="387668"/>
                  <a:pt x="963930" y="396241"/>
                </a:cubicBezTo>
                <a:lnTo>
                  <a:pt x="955358" y="419101"/>
                </a:lnTo>
                <a:lnTo>
                  <a:pt x="945833" y="419101"/>
                </a:lnTo>
                <a:lnTo>
                  <a:pt x="937260" y="396241"/>
                </a:lnTo>
                <a:cubicBezTo>
                  <a:pt x="934403" y="387668"/>
                  <a:pt x="930593" y="380048"/>
                  <a:pt x="927735" y="371476"/>
                </a:cubicBezTo>
                <a:cubicBezTo>
                  <a:pt x="927735" y="380048"/>
                  <a:pt x="927735" y="388621"/>
                  <a:pt x="927735" y="397193"/>
                </a:cubicBezTo>
                <a:lnTo>
                  <a:pt x="927735" y="420053"/>
                </a:lnTo>
                <a:lnTo>
                  <a:pt x="915353" y="420053"/>
                </a:lnTo>
                <a:close/>
                <a:moveTo>
                  <a:pt x="445770" y="356236"/>
                </a:moveTo>
                <a:lnTo>
                  <a:pt x="463868" y="356236"/>
                </a:lnTo>
                <a:lnTo>
                  <a:pt x="473393" y="381953"/>
                </a:lnTo>
                <a:cubicBezTo>
                  <a:pt x="476250" y="388621"/>
                  <a:pt x="478155" y="395288"/>
                  <a:pt x="481013" y="401956"/>
                </a:cubicBezTo>
                <a:cubicBezTo>
                  <a:pt x="482918" y="395288"/>
                  <a:pt x="485775" y="388621"/>
                  <a:pt x="488633" y="381953"/>
                </a:cubicBezTo>
                <a:lnTo>
                  <a:pt x="498158" y="356236"/>
                </a:lnTo>
                <a:lnTo>
                  <a:pt x="516255" y="356236"/>
                </a:lnTo>
                <a:lnTo>
                  <a:pt x="516255" y="419101"/>
                </a:lnTo>
                <a:lnTo>
                  <a:pt x="502920" y="419101"/>
                </a:lnTo>
                <a:lnTo>
                  <a:pt x="502920" y="396241"/>
                </a:lnTo>
                <a:cubicBezTo>
                  <a:pt x="502920" y="387668"/>
                  <a:pt x="502920" y="379096"/>
                  <a:pt x="502920" y="370523"/>
                </a:cubicBezTo>
                <a:cubicBezTo>
                  <a:pt x="500063" y="379096"/>
                  <a:pt x="497205" y="387668"/>
                  <a:pt x="493395" y="396241"/>
                </a:cubicBezTo>
                <a:lnTo>
                  <a:pt x="484822" y="419101"/>
                </a:lnTo>
                <a:lnTo>
                  <a:pt x="475297" y="419101"/>
                </a:lnTo>
                <a:lnTo>
                  <a:pt x="467678" y="396241"/>
                </a:lnTo>
                <a:cubicBezTo>
                  <a:pt x="464820" y="387668"/>
                  <a:pt x="461010" y="380048"/>
                  <a:pt x="458153" y="371476"/>
                </a:cubicBezTo>
                <a:cubicBezTo>
                  <a:pt x="458153" y="380048"/>
                  <a:pt x="458153" y="388621"/>
                  <a:pt x="458153" y="397193"/>
                </a:cubicBezTo>
                <a:lnTo>
                  <a:pt x="458153" y="420053"/>
                </a:lnTo>
                <a:lnTo>
                  <a:pt x="445770" y="420053"/>
                </a:lnTo>
                <a:close/>
                <a:moveTo>
                  <a:pt x="1158240" y="355283"/>
                </a:moveTo>
                <a:lnTo>
                  <a:pt x="1208723" y="355283"/>
                </a:lnTo>
                <a:lnTo>
                  <a:pt x="1208723" y="366713"/>
                </a:lnTo>
                <a:lnTo>
                  <a:pt x="1189673" y="366713"/>
                </a:lnTo>
                <a:lnTo>
                  <a:pt x="1189673" y="419101"/>
                </a:lnTo>
                <a:lnTo>
                  <a:pt x="1176338" y="419101"/>
                </a:lnTo>
                <a:lnTo>
                  <a:pt x="1176338" y="366713"/>
                </a:lnTo>
                <a:lnTo>
                  <a:pt x="1158240" y="366713"/>
                </a:lnTo>
                <a:close/>
                <a:moveTo>
                  <a:pt x="1084897" y="355283"/>
                </a:moveTo>
                <a:lnTo>
                  <a:pt x="1099185" y="355283"/>
                </a:lnTo>
                <a:lnTo>
                  <a:pt x="1113472" y="377191"/>
                </a:lnTo>
                <a:cubicBezTo>
                  <a:pt x="1119187" y="384811"/>
                  <a:pt x="1122997" y="391478"/>
                  <a:pt x="1125855" y="397193"/>
                </a:cubicBezTo>
                <a:lnTo>
                  <a:pt x="1125855" y="355283"/>
                </a:lnTo>
                <a:lnTo>
                  <a:pt x="1138237" y="355283"/>
                </a:lnTo>
                <a:lnTo>
                  <a:pt x="1138237" y="419101"/>
                </a:lnTo>
                <a:lnTo>
                  <a:pt x="1126807" y="419101"/>
                </a:lnTo>
                <a:lnTo>
                  <a:pt x="1111567" y="395288"/>
                </a:lnTo>
                <a:cubicBezTo>
                  <a:pt x="1104900" y="385763"/>
                  <a:pt x="1101089" y="379096"/>
                  <a:pt x="1097280" y="373381"/>
                </a:cubicBezTo>
                <a:lnTo>
                  <a:pt x="1097280" y="419101"/>
                </a:lnTo>
                <a:lnTo>
                  <a:pt x="1084897" y="419101"/>
                </a:lnTo>
                <a:close/>
                <a:moveTo>
                  <a:pt x="1013460" y="355283"/>
                </a:moveTo>
                <a:lnTo>
                  <a:pt x="1057275" y="355283"/>
                </a:lnTo>
                <a:lnTo>
                  <a:pt x="1057275" y="366713"/>
                </a:lnTo>
                <a:lnTo>
                  <a:pt x="1026795" y="366713"/>
                </a:lnTo>
                <a:lnTo>
                  <a:pt x="1026795" y="381001"/>
                </a:lnTo>
                <a:lnTo>
                  <a:pt x="1054418" y="381001"/>
                </a:lnTo>
                <a:lnTo>
                  <a:pt x="1054418" y="392431"/>
                </a:lnTo>
                <a:lnTo>
                  <a:pt x="1026795" y="392431"/>
                </a:lnTo>
                <a:lnTo>
                  <a:pt x="1026795" y="407671"/>
                </a:lnTo>
                <a:lnTo>
                  <a:pt x="1058227" y="407671"/>
                </a:lnTo>
                <a:lnTo>
                  <a:pt x="1058227" y="419101"/>
                </a:lnTo>
                <a:lnTo>
                  <a:pt x="1013460" y="419101"/>
                </a:lnTo>
                <a:close/>
                <a:moveTo>
                  <a:pt x="845820" y="355283"/>
                </a:moveTo>
                <a:lnTo>
                  <a:pt x="889635" y="355283"/>
                </a:lnTo>
                <a:lnTo>
                  <a:pt x="889635" y="366713"/>
                </a:lnTo>
                <a:lnTo>
                  <a:pt x="859155" y="366713"/>
                </a:lnTo>
                <a:lnTo>
                  <a:pt x="859155" y="381001"/>
                </a:lnTo>
                <a:lnTo>
                  <a:pt x="886778" y="381001"/>
                </a:lnTo>
                <a:lnTo>
                  <a:pt x="886778" y="392431"/>
                </a:lnTo>
                <a:lnTo>
                  <a:pt x="859155" y="392431"/>
                </a:lnTo>
                <a:lnTo>
                  <a:pt x="859155" y="407671"/>
                </a:lnTo>
                <a:lnTo>
                  <a:pt x="890588" y="407671"/>
                </a:lnTo>
                <a:lnTo>
                  <a:pt x="890588" y="419101"/>
                </a:lnTo>
                <a:lnTo>
                  <a:pt x="845820" y="419101"/>
                </a:lnTo>
                <a:close/>
                <a:moveTo>
                  <a:pt x="713423" y="355283"/>
                </a:moveTo>
                <a:lnTo>
                  <a:pt x="729615" y="355283"/>
                </a:lnTo>
                <a:lnTo>
                  <a:pt x="753428" y="419101"/>
                </a:lnTo>
                <a:lnTo>
                  <a:pt x="739140" y="419101"/>
                </a:lnTo>
                <a:lnTo>
                  <a:pt x="734378" y="405766"/>
                </a:lnTo>
                <a:lnTo>
                  <a:pt x="707708" y="405766"/>
                </a:lnTo>
                <a:lnTo>
                  <a:pt x="702945" y="419101"/>
                </a:lnTo>
                <a:lnTo>
                  <a:pt x="689610" y="419101"/>
                </a:lnTo>
                <a:close/>
                <a:moveTo>
                  <a:pt x="617220" y="355283"/>
                </a:moveTo>
                <a:lnTo>
                  <a:pt x="631508" y="355283"/>
                </a:lnTo>
                <a:lnTo>
                  <a:pt x="645795" y="377191"/>
                </a:lnTo>
                <a:cubicBezTo>
                  <a:pt x="651510" y="384811"/>
                  <a:pt x="655320" y="391478"/>
                  <a:pt x="658178" y="397193"/>
                </a:cubicBezTo>
                <a:lnTo>
                  <a:pt x="658178" y="355283"/>
                </a:lnTo>
                <a:lnTo>
                  <a:pt x="670560" y="355283"/>
                </a:lnTo>
                <a:lnTo>
                  <a:pt x="670560" y="419101"/>
                </a:lnTo>
                <a:lnTo>
                  <a:pt x="659130" y="419101"/>
                </a:lnTo>
                <a:lnTo>
                  <a:pt x="643890" y="395288"/>
                </a:lnTo>
                <a:cubicBezTo>
                  <a:pt x="637222" y="385763"/>
                  <a:pt x="633413" y="379096"/>
                  <a:pt x="629603" y="373381"/>
                </a:cubicBezTo>
                <a:lnTo>
                  <a:pt x="629603" y="419101"/>
                </a:lnTo>
                <a:lnTo>
                  <a:pt x="617220" y="419101"/>
                </a:lnTo>
                <a:close/>
                <a:moveTo>
                  <a:pt x="559118" y="355283"/>
                </a:moveTo>
                <a:lnTo>
                  <a:pt x="575310" y="355283"/>
                </a:lnTo>
                <a:lnTo>
                  <a:pt x="599122" y="419101"/>
                </a:lnTo>
                <a:lnTo>
                  <a:pt x="584835" y="419101"/>
                </a:lnTo>
                <a:lnTo>
                  <a:pt x="580072" y="405766"/>
                </a:lnTo>
                <a:lnTo>
                  <a:pt x="553403" y="405766"/>
                </a:lnTo>
                <a:lnTo>
                  <a:pt x="548640" y="419101"/>
                </a:lnTo>
                <a:lnTo>
                  <a:pt x="535305" y="419101"/>
                </a:lnTo>
                <a:close/>
                <a:moveTo>
                  <a:pt x="338137" y="355283"/>
                </a:moveTo>
                <a:lnTo>
                  <a:pt x="388619" y="355283"/>
                </a:lnTo>
                <a:lnTo>
                  <a:pt x="388619" y="366713"/>
                </a:lnTo>
                <a:lnTo>
                  <a:pt x="369569" y="366713"/>
                </a:lnTo>
                <a:lnTo>
                  <a:pt x="369569" y="419101"/>
                </a:lnTo>
                <a:lnTo>
                  <a:pt x="356234" y="419101"/>
                </a:lnTo>
                <a:lnTo>
                  <a:pt x="356234" y="366713"/>
                </a:lnTo>
                <a:lnTo>
                  <a:pt x="338137" y="366713"/>
                </a:lnTo>
                <a:close/>
                <a:moveTo>
                  <a:pt x="274320" y="355283"/>
                </a:moveTo>
                <a:lnTo>
                  <a:pt x="318135" y="355283"/>
                </a:lnTo>
                <a:lnTo>
                  <a:pt x="318135" y="366713"/>
                </a:lnTo>
                <a:lnTo>
                  <a:pt x="287655" y="366713"/>
                </a:lnTo>
                <a:lnTo>
                  <a:pt x="287655" y="381001"/>
                </a:lnTo>
                <a:lnTo>
                  <a:pt x="315278" y="381001"/>
                </a:lnTo>
                <a:lnTo>
                  <a:pt x="315278" y="392431"/>
                </a:lnTo>
                <a:lnTo>
                  <a:pt x="287655" y="392431"/>
                </a:lnTo>
                <a:lnTo>
                  <a:pt x="287655" y="407671"/>
                </a:lnTo>
                <a:lnTo>
                  <a:pt x="319088" y="407671"/>
                </a:lnTo>
                <a:lnTo>
                  <a:pt x="319088" y="419101"/>
                </a:lnTo>
                <a:lnTo>
                  <a:pt x="274320" y="419101"/>
                </a:lnTo>
                <a:close/>
                <a:moveTo>
                  <a:pt x="92393" y="355283"/>
                </a:moveTo>
                <a:lnTo>
                  <a:pt x="108585" y="355283"/>
                </a:lnTo>
                <a:lnTo>
                  <a:pt x="132398" y="419101"/>
                </a:lnTo>
                <a:lnTo>
                  <a:pt x="118110" y="419101"/>
                </a:lnTo>
                <a:lnTo>
                  <a:pt x="113348" y="405766"/>
                </a:lnTo>
                <a:lnTo>
                  <a:pt x="86678" y="405766"/>
                </a:lnTo>
                <a:lnTo>
                  <a:pt x="81915" y="419101"/>
                </a:lnTo>
                <a:lnTo>
                  <a:pt x="68580" y="419101"/>
                </a:lnTo>
                <a:close/>
                <a:moveTo>
                  <a:pt x="797242" y="354330"/>
                </a:moveTo>
                <a:cubicBezTo>
                  <a:pt x="805815" y="354330"/>
                  <a:pt x="813434" y="357188"/>
                  <a:pt x="818197" y="360998"/>
                </a:cubicBezTo>
                <a:lnTo>
                  <a:pt x="810577" y="370523"/>
                </a:lnTo>
                <a:cubicBezTo>
                  <a:pt x="807720" y="367665"/>
                  <a:pt x="802957" y="365760"/>
                  <a:pt x="796290" y="365760"/>
                </a:cubicBezTo>
                <a:cubicBezTo>
                  <a:pt x="782955" y="365760"/>
                  <a:pt x="778192" y="376238"/>
                  <a:pt x="778192" y="386715"/>
                </a:cubicBezTo>
                <a:cubicBezTo>
                  <a:pt x="778192" y="397193"/>
                  <a:pt x="782002" y="408623"/>
                  <a:pt x="796290" y="408623"/>
                </a:cubicBezTo>
                <a:cubicBezTo>
                  <a:pt x="801052" y="408623"/>
                  <a:pt x="803909" y="407670"/>
                  <a:pt x="806767" y="405765"/>
                </a:cubicBezTo>
                <a:lnTo>
                  <a:pt x="806767" y="393382"/>
                </a:lnTo>
                <a:lnTo>
                  <a:pt x="792480" y="393382"/>
                </a:lnTo>
                <a:lnTo>
                  <a:pt x="792480" y="381953"/>
                </a:lnTo>
                <a:lnTo>
                  <a:pt x="820102" y="381953"/>
                </a:lnTo>
                <a:lnTo>
                  <a:pt x="820102" y="382905"/>
                </a:lnTo>
                <a:lnTo>
                  <a:pt x="820102" y="411480"/>
                </a:lnTo>
                <a:cubicBezTo>
                  <a:pt x="815340" y="417195"/>
                  <a:pt x="806767" y="421005"/>
                  <a:pt x="796290" y="421005"/>
                </a:cubicBezTo>
                <a:cubicBezTo>
                  <a:pt x="777240" y="421005"/>
                  <a:pt x="764857" y="409575"/>
                  <a:pt x="764857" y="387668"/>
                </a:cubicBezTo>
                <a:cubicBezTo>
                  <a:pt x="764857" y="365760"/>
                  <a:pt x="778192" y="354330"/>
                  <a:pt x="797242" y="354330"/>
                </a:cubicBezTo>
                <a:close/>
                <a:moveTo>
                  <a:pt x="232411" y="354330"/>
                </a:moveTo>
                <a:cubicBezTo>
                  <a:pt x="241936" y="354330"/>
                  <a:pt x="249556" y="357188"/>
                  <a:pt x="253366" y="360998"/>
                </a:cubicBezTo>
                <a:lnTo>
                  <a:pt x="246698" y="370523"/>
                </a:lnTo>
                <a:cubicBezTo>
                  <a:pt x="242888" y="366713"/>
                  <a:pt x="237173" y="365760"/>
                  <a:pt x="231458" y="365760"/>
                </a:cubicBezTo>
                <a:cubicBezTo>
                  <a:pt x="224791" y="365760"/>
                  <a:pt x="220981" y="368618"/>
                  <a:pt x="220981" y="372428"/>
                </a:cubicBezTo>
                <a:cubicBezTo>
                  <a:pt x="220981" y="376238"/>
                  <a:pt x="224791" y="378143"/>
                  <a:pt x="234316" y="381000"/>
                </a:cubicBezTo>
                <a:cubicBezTo>
                  <a:pt x="247650" y="384810"/>
                  <a:pt x="254318" y="390525"/>
                  <a:pt x="254318" y="400050"/>
                </a:cubicBezTo>
                <a:cubicBezTo>
                  <a:pt x="254318" y="411480"/>
                  <a:pt x="245745" y="420053"/>
                  <a:pt x="230506" y="420053"/>
                </a:cubicBezTo>
                <a:cubicBezTo>
                  <a:pt x="220981" y="420053"/>
                  <a:pt x="211456" y="416243"/>
                  <a:pt x="206693" y="411480"/>
                </a:cubicBezTo>
                <a:lnTo>
                  <a:pt x="213361" y="401955"/>
                </a:lnTo>
                <a:cubicBezTo>
                  <a:pt x="216218" y="404813"/>
                  <a:pt x="222886" y="408623"/>
                  <a:pt x="231458" y="408623"/>
                </a:cubicBezTo>
                <a:cubicBezTo>
                  <a:pt x="238125" y="408623"/>
                  <a:pt x="241936" y="406718"/>
                  <a:pt x="241936" y="401003"/>
                </a:cubicBezTo>
                <a:cubicBezTo>
                  <a:pt x="241936" y="396240"/>
                  <a:pt x="237173" y="394335"/>
                  <a:pt x="229553" y="392430"/>
                </a:cubicBezTo>
                <a:cubicBezTo>
                  <a:pt x="215266" y="388620"/>
                  <a:pt x="208598" y="383857"/>
                  <a:pt x="208598" y="373380"/>
                </a:cubicBezTo>
                <a:cubicBezTo>
                  <a:pt x="208598" y="362903"/>
                  <a:pt x="216218" y="354330"/>
                  <a:pt x="232411" y="354330"/>
                </a:cubicBezTo>
                <a:close/>
                <a:moveTo>
                  <a:pt x="169545" y="354330"/>
                </a:moveTo>
                <a:cubicBezTo>
                  <a:pt x="179070" y="354330"/>
                  <a:pt x="186691" y="357188"/>
                  <a:pt x="190500" y="360998"/>
                </a:cubicBezTo>
                <a:lnTo>
                  <a:pt x="183833" y="370523"/>
                </a:lnTo>
                <a:cubicBezTo>
                  <a:pt x="180023" y="366713"/>
                  <a:pt x="174308" y="365760"/>
                  <a:pt x="168593" y="365760"/>
                </a:cubicBezTo>
                <a:cubicBezTo>
                  <a:pt x="161925" y="365760"/>
                  <a:pt x="158116" y="368618"/>
                  <a:pt x="158116" y="372428"/>
                </a:cubicBezTo>
                <a:cubicBezTo>
                  <a:pt x="158116" y="376238"/>
                  <a:pt x="161925" y="378143"/>
                  <a:pt x="171450" y="381000"/>
                </a:cubicBezTo>
                <a:cubicBezTo>
                  <a:pt x="184785" y="384810"/>
                  <a:pt x="191453" y="390525"/>
                  <a:pt x="191453" y="400050"/>
                </a:cubicBezTo>
                <a:cubicBezTo>
                  <a:pt x="191453" y="411480"/>
                  <a:pt x="182880" y="420053"/>
                  <a:pt x="167641" y="420053"/>
                </a:cubicBezTo>
                <a:cubicBezTo>
                  <a:pt x="158116" y="420053"/>
                  <a:pt x="148591" y="416243"/>
                  <a:pt x="143828" y="411480"/>
                </a:cubicBezTo>
                <a:lnTo>
                  <a:pt x="150495" y="401955"/>
                </a:lnTo>
                <a:cubicBezTo>
                  <a:pt x="153353" y="404813"/>
                  <a:pt x="160020" y="408623"/>
                  <a:pt x="168593" y="408623"/>
                </a:cubicBezTo>
                <a:cubicBezTo>
                  <a:pt x="175260" y="408623"/>
                  <a:pt x="179070" y="406718"/>
                  <a:pt x="179070" y="401003"/>
                </a:cubicBezTo>
                <a:cubicBezTo>
                  <a:pt x="179070" y="396240"/>
                  <a:pt x="174308" y="394335"/>
                  <a:pt x="166688" y="392430"/>
                </a:cubicBezTo>
                <a:cubicBezTo>
                  <a:pt x="152400" y="388620"/>
                  <a:pt x="145733" y="383857"/>
                  <a:pt x="145733" y="373380"/>
                </a:cubicBezTo>
                <a:cubicBezTo>
                  <a:pt x="145733" y="362903"/>
                  <a:pt x="153353" y="354330"/>
                  <a:pt x="169545" y="354330"/>
                </a:cubicBezTo>
                <a:close/>
                <a:moveTo>
                  <a:pt x="367665" y="101918"/>
                </a:moveTo>
                <a:cubicBezTo>
                  <a:pt x="334328" y="101918"/>
                  <a:pt x="306705" y="129541"/>
                  <a:pt x="306705" y="162878"/>
                </a:cubicBezTo>
                <a:cubicBezTo>
                  <a:pt x="306705" y="196216"/>
                  <a:pt x="334328" y="223838"/>
                  <a:pt x="367665" y="223838"/>
                </a:cubicBezTo>
                <a:cubicBezTo>
                  <a:pt x="401003" y="223838"/>
                  <a:pt x="428625" y="197168"/>
                  <a:pt x="428625" y="162878"/>
                </a:cubicBezTo>
                <a:cubicBezTo>
                  <a:pt x="428625" y="129541"/>
                  <a:pt x="401003" y="101918"/>
                  <a:pt x="367665" y="101918"/>
                </a:cubicBezTo>
                <a:close/>
                <a:moveTo>
                  <a:pt x="1190625" y="100966"/>
                </a:moveTo>
                <a:cubicBezTo>
                  <a:pt x="1154430" y="100966"/>
                  <a:pt x="1125855" y="132398"/>
                  <a:pt x="1129665" y="169546"/>
                </a:cubicBezTo>
                <a:cubicBezTo>
                  <a:pt x="1133475" y="197168"/>
                  <a:pt x="1155382" y="219076"/>
                  <a:pt x="1183005" y="222886"/>
                </a:cubicBezTo>
                <a:cubicBezTo>
                  <a:pt x="1219200" y="227648"/>
                  <a:pt x="1249680" y="200978"/>
                  <a:pt x="1251585" y="165736"/>
                </a:cubicBezTo>
                <a:lnTo>
                  <a:pt x="1251585" y="159068"/>
                </a:lnTo>
                <a:cubicBezTo>
                  <a:pt x="1249680" y="126683"/>
                  <a:pt x="1223010" y="100966"/>
                  <a:pt x="1190625" y="100966"/>
                </a:cubicBezTo>
                <a:close/>
                <a:moveTo>
                  <a:pt x="718185" y="100965"/>
                </a:moveTo>
                <a:cubicBezTo>
                  <a:pt x="681990" y="100965"/>
                  <a:pt x="653415" y="132398"/>
                  <a:pt x="657225" y="169545"/>
                </a:cubicBezTo>
                <a:cubicBezTo>
                  <a:pt x="661035" y="197167"/>
                  <a:pt x="682943" y="219075"/>
                  <a:pt x="710565" y="222885"/>
                </a:cubicBezTo>
                <a:cubicBezTo>
                  <a:pt x="746760" y="227648"/>
                  <a:pt x="777240" y="200978"/>
                  <a:pt x="779145" y="165735"/>
                </a:cubicBezTo>
                <a:cubicBezTo>
                  <a:pt x="779145" y="165735"/>
                  <a:pt x="779145" y="159067"/>
                  <a:pt x="779145" y="159067"/>
                </a:cubicBezTo>
                <a:cubicBezTo>
                  <a:pt x="777240" y="126683"/>
                  <a:pt x="750570" y="100965"/>
                  <a:pt x="718185" y="100965"/>
                </a:cubicBezTo>
                <a:close/>
                <a:moveTo>
                  <a:pt x="962546" y="96694"/>
                </a:moveTo>
                <a:cubicBezTo>
                  <a:pt x="955119" y="96560"/>
                  <a:pt x="947261" y="97870"/>
                  <a:pt x="939165" y="100966"/>
                </a:cubicBezTo>
                <a:cubicBezTo>
                  <a:pt x="910590" y="111443"/>
                  <a:pt x="897255" y="137161"/>
                  <a:pt x="897255" y="159068"/>
                </a:cubicBezTo>
                <a:lnTo>
                  <a:pt x="1012508" y="127636"/>
                </a:lnTo>
                <a:cubicBezTo>
                  <a:pt x="1003221" y="110491"/>
                  <a:pt x="984825" y="97096"/>
                  <a:pt x="962546" y="96694"/>
                </a:cubicBezTo>
                <a:close/>
                <a:moveTo>
                  <a:pt x="1182052" y="57151"/>
                </a:moveTo>
                <a:cubicBezTo>
                  <a:pt x="1243012" y="52388"/>
                  <a:pt x="1296352" y="99061"/>
                  <a:pt x="1296352" y="165736"/>
                </a:cubicBezTo>
                <a:lnTo>
                  <a:pt x="1296352" y="266701"/>
                </a:lnTo>
                <a:lnTo>
                  <a:pt x="1255395" y="266701"/>
                </a:lnTo>
                <a:lnTo>
                  <a:pt x="1255395" y="235268"/>
                </a:lnTo>
                <a:cubicBezTo>
                  <a:pt x="1241107" y="258128"/>
                  <a:pt x="1211580" y="269558"/>
                  <a:pt x="1189672" y="269558"/>
                </a:cubicBezTo>
                <a:cubicBezTo>
                  <a:pt x="1128712" y="269558"/>
                  <a:pt x="1080135" y="218123"/>
                  <a:pt x="1083945" y="156211"/>
                </a:cubicBezTo>
                <a:cubicBezTo>
                  <a:pt x="1087755" y="103823"/>
                  <a:pt x="1129665" y="60961"/>
                  <a:pt x="1182052" y="57151"/>
                </a:cubicBezTo>
                <a:close/>
                <a:moveTo>
                  <a:pt x="957263" y="57151"/>
                </a:moveTo>
                <a:cubicBezTo>
                  <a:pt x="1023938" y="55246"/>
                  <a:pt x="1060133" y="110491"/>
                  <a:pt x="1065847" y="152401"/>
                </a:cubicBezTo>
                <a:lnTo>
                  <a:pt x="906780" y="196216"/>
                </a:lnTo>
                <a:cubicBezTo>
                  <a:pt x="917257" y="215266"/>
                  <a:pt x="943928" y="233363"/>
                  <a:pt x="972502" y="227648"/>
                </a:cubicBezTo>
                <a:cubicBezTo>
                  <a:pt x="992505" y="223838"/>
                  <a:pt x="1010602" y="209551"/>
                  <a:pt x="1018222" y="192406"/>
                </a:cubicBezTo>
                <a:lnTo>
                  <a:pt x="1059180" y="204788"/>
                </a:lnTo>
                <a:cubicBezTo>
                  <a:pt x="1042988" y="245746"/>
                  <a:pt x="1002030" y="270511"/>
                  <a:pt x="960120" y="270511"/>
                </a:cubicBezTo>
                <a:cubicBezTo>
                  <a:pt x="900113" y="270511"/>
                  <a:pt x="853440" y="221933"/>
                  <a:pt x="853440" y="164783"/>
                </a:cubicBezTo>
                <a:cubicBezTo>
                  <a:pt x="853440" y="101918"/>
                  <a:pt x="901065" y="59056"/>
                  <a:pt x="957263" y="57151"/>
                </a:cubicBezTo>
                <a:close/>
                <a:moveTo>
                  <a:pt x="606742" y="56198"/>
                </a:moveTo>
                <a:lnTo>
                  <a:pt x="606742" y="100013"/>
                </a:lnTo>
                <a:cubicBezTo>
                  <a:pt x="575310" y="101918"/>
                  <a:pt x="547688" y="120016"/>
                  <a:pt x="547688" y="165736"/>
                </a:cubicBezTo>
                <a:cubicBezTo>
                  <a:pt x="547688" y="203836"/>
                  <a:pt x="547688" y="202883"/>
                  <a:pt x="547688" y="265748"/>
                </a:cubicBezTo>
                <a:lnTo>
                  <a:pt x="501015" y="265748"/>
                </a:lnTo>
                <a:lnTo>
                  <a:pt x="501015" y="160021"/>
                </a:lnTo>
                <a:lnTo>
                  <a:pt x="501015" y="62866"/>
                </a:lnTo>
                <a:lnTo>
                  <a:pt x="546735" y="62866"/>
                </a:lnTo>
                <a:lnTo>
                  <a:pt x="546735" y="86678"/>
                </a:lnTo>
                <a:cubicBezTo>
                  <a:pt x="553403" y="76201"/>
                  <a:pt x="566738" y="56198"/>
                  <a:pt x="606742" y="56198"/>
                </a:cubicBezTo>
                <a:close/>
                <a:moveTo>
                  <a:pt x="367665" y="56198"/>
                </a:moveTo>
                <a:cubicBezTo>
                  <a:pt x="425768" y="56198"/>
                  <a:pt x="473393" y="103823"/>
                  <a:pt x="474345" y="162878"/>
                </a:cubicBezTo>
                <a:cubicBezTo>
                  <a:pt x="474345" y="221933"/>
                  <a:pt x="426720" y="269558"/>
                  <a:pt x="367665" y="269558"/>
                </a:cubicBezTo>
                <a:cubicBezTo>
                  <a:pt x="308610" y="269558"/>
                  <a:pt x="260985" y="221933"/>
                  <a:pt x="260985" y="162878"/>
                </a:cubicBezTo>
                <a:cubicBezTo>
                  <a:pt x="260985" y="103823"/>
                  <a:pt x="308610" y="56198"/>
                  <a:pt x="367665" y="56198"/>
                </a:cubicBezTo>
                <a:close/>
                <a:moveTo>
                  <a:pt x="0" y="20956"/>
                </a:moveTo>
                <a:lnTo>
                  <a:pt x="47625" y="20956"/>
                </a:lnTo>
                <a:lnTo>
                  <a:pt x="186690" y="184786"/>
                </a:lnTo>
                <a:lnTo>
                  <a:pt x="186690" y="20956"/>
                </a:lnTo>
                <a:lnTo>
                  <a:pt x="233363" y="20956"/>
                </a:lnTo>
                <a:lnTo>
                  <a:pt x="233363" y="266701"/>
                </a:lnTo>
                <a:lnTo>
                  <a:pt x="190500" y="266701"/>
                </a:lnTo>
                <a:lnTo>
                  <a:pt x="49530" y="101918"/>
                </a:lnTo>
                <a:lnTo>
                  <a:pt x="49530" y="265748"/>
                </a:lnTo>
                <a:lnTo>
                  <a:pt x="0" y="265748"/>
                </a:lnTo>
                <a:close/>
                <a:moveTo>
                  <a:pt x="781050" y="0"/>
                </a:moveTo>
                <a:lnTo>
                  <a:pt x="824865" y="0"/>
                </a:lnTo>
                <a:lnTo>
                  <a:pt x="824865" y="160973"/>
                </a:lnTo>
                <a:cubicBezTo>
                  <a:pt x="824865" y="161925"/>
                  <a:pt x="824865" y="161925"/>
                  <a:pt x="824865" y="162878"/>
                </a:cubicBezTo>
                <a:cubicBezTo>
                  <a:pt x="824865" y="163830"/>
                  <a:pt x="824865" y="163830"/>
                  <a:pt x="824865" y="164783"/>
                </a:cubicBezTo>
                <a:lnTo>
                  <a:pt x="824865" y="267653"/>
                </a:lnTo>
                <a:lnTo>
                  <a:pt x="783908" y="267653"/>
                </a:lnTo>
                <a:lnTo>
                  <a:pt x="783908" y="240030"/>
                </a:lnTo>
                <a:cubicBezTo>
                  <a:pt x="772478" y="260033"/>
                  <a:pt x="741045" y="270510"/>
                  <a:pt x="718185" y="270510"/>
                </a:cubicBezTo>
                <a:cubicBezTo>
                  <a:pt x="657225" y="270510"/>
                  <a:pt x="608648" y="219075"/>
                  <a:pt x="612458" y="157163"/>
                </a:cubicBezTo>
                <a:cubicBezTo>
                  <a:pt x="616268" y="104775"/>
                  <a:pt x="658178" y="61913"/>
                  <a:pt x="710565" y="58103"/>
                </a:cubicBezTo>
                <a:cubicBezTo>
                  <a:pt x="738188" y="55245"/>
                  <a:pt x="770573" y="66675"/>
                  <a:pt x="781050" y="80010"/>
                </a:cubicBezTo>
                <a:close/>
              </a:path>
            </a:pathLst>
          </a:custGeom>
          <a:solidFill>
            <a:srgbClr val="FFFF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965302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EBAFD68E-0C6A-0C2E-927D-9A39A4E859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67913F04-D00F-8EBE-05F7-92EA84AF852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id="{0F89E51F-915F-86CD-BBF3-1EFB1D0ED0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F16B57-C631-344C-A451-8BAFA89D3B5B}" type="datetimeFigureOut">
              <a:rPr lang="pl-PL" smtClean="0"/>
              <a:t>29.01.2024</a:t>
            </a:fld>
            <a:endParaRPr lang="pl-PL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id="{5E6018F8-58FD-5AFD-D817-77916D124B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74B27547-9FF2-FFEE-9A5A-F9043C06B8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86206E-8722-B746-901D-E11776288D95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2400812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7A350D2-E265-48FF-8A18-B8E72C2028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7A350D2-E265-48FF-8A18-B8E72C2028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1" y="1338264"/>
            <a:ext cx="7200000" cy="750221"/>
          </a:xfrm>
        </p:spPr>
        <p:txBody>
          <a:bodyPr vert="horz">
            <a:noAutofit/>
          </a:bodyPr>
          <a:lstStyle>
            <a:lvl1pPr>
              <a:defRPr sz="2399">
                <a:solidFill>
                  <a:srgbClr val="FBD9CA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1" y="2133650"/>
            <a:ext cx="7200000" cy="360083"/>
          </a:xfrm>
        </p:spPr>
        <p:txBody>
          <a:bodyPr>
            <a:noAutofit/>
          </a:bodyPr>
          <a:lstStyle>
            <a:lvl1pPr marL="0" indent="0" algn="l">
              <a:buNone/>
              <a:defRPr b="0">
                <a:solidFill>
                  <a:srgbClr val="FFFFFF"/>
                </a:solidFill>
              </a:defRPr>
            </a:lvl1pPr>
            <a:lvl2pPr marL="544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3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46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1" y="2592000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 b="0">
                <a:solidFill>
                  <a:srgbClr val="FFFFFF"/>
                </a:solidFill>
              </a:defRPr>
            </a:lvl1pPr>
            <a:lvl2pPr marL="257165" indent="0">
              <a:buNone/>
              <a:defRPr>
                <a:solidFill>
                  <a:schemeClr val="accent2"/>
                </a:solidFill>
              </a:defRPr>
            </a:lvl2pPr>
            <a:lvl3pPr marL="514331" indent="0">
              <a:buNone/>
              <a:defRPr>
                <a:solidFill>
                  <a:schemeClr val="accent2"/>
                </a:solidFill>
              </a:defRPr>
            </a:lvl3pPr>
            <a:lvl4pPr marL="771497" indent="0">
              <a:buNone/>
              <a:defRPr>
                <a:solidFill>
                  <a:schemeClr val="accent2"/>
                </a:solidFill>
              </a:defRPr>
            </a:lvl4pPr>
            <a:lvl5pPr marL="1028662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1" y="2844000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 b="0">
                <a:solidFill>
                  <a:srgbClr val="FFFFFF"/>
                </a:solidFill>
              </a:defRPr>
            </a:lvl1pPr>
            <a:lvl2pPr marL="257165" indent="0">
              <a:buNone/>
              <a:defRPr>
                <a:solidFill>
                  <a:schemeClr val="accent2"/>
                </a:solidFill>
              </a:defRPr>
            </a:lvl2pPr>
            <a:lvl3pPr marL="514331" indent="0">
              <a:buNone/>
              <a:defRPr>
                <a:solidFill>
                  <a:schemeClr val="accent2"/>
                </a:solidFill>
              </a:defRPr>
            </a:lvl3pPr>
            <a:lvl4pPr marL="771497" indent="0">
              <a:buNone/>
              <a:defRPr>
                <a:solidFill>
                  <a:schemeClr val="accent2"/>
                </a:solidFill>
              </a:defRPr>
            </a:lvl4pPr>
            <a:lvl5pPr marL="1028662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8" name="AutoShape 3"/>
          <p:cNvSpPr>
            <a:spLocks noChangeAspect="1" noChangeArrowheads="1" noTextEdit="1"/>
          </p:cNvSpPr>
          <p:nvPr userDrawn="1"/>
        </p:nvSpPr>
        <p:spPr bwMode="auto">
          <a:xfrm>
            <a:off x="8326439" y="2854326"/>
            <a:ext cx="3995737" cy="4005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7" tIns="45719" rIns="91437" bIns="45719" numCol="1" anchor="t" anchorCtr="0" compatLnSpc="1">
            <a:prstTxWarp prst="textNoShape">
              <a:avLst/>
            </a:prstTxWarp>
          </a:bodyPr>
          <a:lstStyle/>
          <a:p>
            <a:endParaRPr lang="en-GB" sz="1799"/>
          </a:p>
        </p:txBody>
      </p:sp>
      <p:grpSp>
        <p:nvGrpSpPr>
          <p:cNvPr id="17" name="Pulse"/>
          <p:cNvGrpSpPr/>
          <p:nvPr userDrawn="1"/>
        </p:nvGrpSpPr>
        <p:grpSpPr>
          <a:xfrm>
            <a:off x="8751888" y="3030539"/>
            <a:ext cx="3446462" cy="3490913"/>
            <a:chOff x="8751888" y="3030538"/>
            <a:chExt cx="3446462" cy="3490913"/>
          </a:xfrm>
          <a:solidFill>
            <a:srgbClr val="0000FF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4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5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6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</p:grpSp>
      <p:grpSp>
        <p:nvGrpSpPr>
          <p:cNvPr id="27" name="Logotype"/>
          <p:cNvGrpSpPr/>
          <p:nvPr userDrawn="1"/>
        </p:nvGrpSpPr>
        <p:grpSpPr>
          <a:xfrm>
            <a:off x="641351" y="530891"/>
            <a:ext cx="1384039" cy="288609"/>
            <a:chOff x="9501453" y="6148765"/>
            <a:chExt cx="2047875" cy="427037"/>
          </a:xfrm>
          <a:solidFill>
            <a:schemeClr val="bg1"/>
          </a:solidFill>
        </p:grpSpPr>
        <p:sp>
          <p:nvSpPr>
            <p:cNvPr id="28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9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0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1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2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3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</p:spTree>
    <p:extLst>
      <p:ext uri="{BB962C8B-B14F-4D97-AF65-F5344CB8AC3E}">
        <p14:creationId xmlns:p14="http://schemas.microsoft.com/office/powerpoint/2010/main" val="548574244"/>
      </p:ext>
    </p:extLst>
  </p:cSld>
  <p:clrMapOvr>
    <a:masterClrMapping/>
  </p:clrMapOvr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A1A426D-F960-45C6-A75C-7CA45CBC9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A1A426D-F960-45C6-A75C-7CA45CBC9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3026670"/>
      </p:ext>
    </p:extLst>
  </p:cSld>
  <p:clrMapOvr>
    <a:masterClrMapping/>
  </p:clrMapOvr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N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88BB6FA-5B0D-47C6-B132-99204A2F20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88BB6FA-5B0D-47C6-B132-99204A2F20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8000" y="1332001"/>
            <a:ext cx="7200000" cy="442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007463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A5832702-13D4-CC82-9036-5C11D2AEC3C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" y="2"/>
            <a:ext cx="12195174" cy="6859587"/>
          </a:xfrm>
          <a:custGeom>
            <a:avLst/>
            <a:gdLst>
              <a:gd name="connsiteX0" fmla="*/ 7166078 w 12195174"/>
              <a:gd name="connsiteY0" fmla="*/ 3249843 h 6859587"/>
              <a:gd name="connsiteX1" fmla="*/ 6964845 w 12195174"/>
              <a:gd name="connsiteY1" fmla="*/ 3451568 h 6859587"/>
              <a:gd name="connsiteX2" fmla="*/ 6964845 w 12195174"/>
              <a:gd name="connsiteY2" fmla="*/ 3725337 h 6859587"/>
              <a:gd name="connsiteX3" fmla="*/ 7166078 w 12195174"/>
              <a:gd name="connsiteY3" fmla="*/ 3931864 h 6859587"/>
              <a:gd name="connsiteX4" fmla="*/ 7367310 w 12195174"/>
              <a:gd name="connsiteY4" fmla="*/ 3725337 h 6859587"/>
              <a:gd name="connsiteX5" fmla="*/ 7367310 w 12195174"/>
              <a:gd name="connsiteY5" fmla="*/ 3451568 h 6859587"/>
              <a:gd name="connsiteX6" fmla="*/ 7166078 w 12195174"/>
              <a:gd name="connsiteY6" fmla="*/ 3249843 h 6859587"/>
              <a:gd name="connsiteX7" fmla="*/ 11381105 w 12195174"/>
              <a:gd name="connsiteY7" fmla="*/ 3216105 h 6859587"/>
              <a:gd name="connsiteX8" fmla="*/ 11040094 w 12195174"/>
              <a:gd name="connsiteY8" fmla="*/ 3556386 h 6859587"/>
              <a:gd name="connsiteX9" fmla="*/ 11040094 w 12195174"/>
              <a:gd name="connsiteY9" fmla="*/ 4572438 h 6859587"/>
              <a:gd name="connsiteX10" fmla="*/ 11381105 w 12195174"/>
              <a:gd name="connsiteY10" fmla="*/ 4912719 h 6859587"/>
              <a:gd name="connsiteX11" fmla="*/ 11722115 w 12195174"/>
              <a:gd name="connsiteY11" fmla="*/ 4572438 h 6859587"/>
              <a:gd name="connsiteX12" fmla="*/ 11722115 w 12195174"/>
              <a:gd name="connsiteY12" fmla="*/ 3556386 h 6859587"/>
              <a:gd name="connsiteX13" fmla="*/ 11381105 w 12195174"/>
              <a:gd name="connsiteY13" fmla="*/ 3216105 h 6859587"/>
              <a:gd name="connsiteX14" fmla="*/ 10273739 w 12195174"/>
              <a:gd name="connsiteY14" fmla="*/ 2435275 h 6859587"/>
              <a:gd name="connsiteX15" fmla="*/ 9851982 w 12195174"/>
              <a:gd name="connsiteY15" fmla="*/ 2857025 h 6859587"/>
              <a:gd name="connsiteX16" fmla="*/ 9851982 w 12195174"/>
              <a:gd name="connsiteY16" fmla="*/ 5814068 h 6859587"/>
              <a:gd name="connsiteX17" fmla="*/ 10273739 w 12195174"/>
              <a:gd name="connsiteY17" fmla="*/ 6240610 h 6859587"/>
              <a:gd name="connsiteX18" fmla="*/ 10700289 w 12195174"/>
              <a:gd name="connsiteY18" fmla="*/ 5814068 h 6859587"/>
              <a:gd name="connsiteX19" fmla="*/ 10700289 w 12195174"/>
              <a:gd name="connsiteY19" fmla="*/ 2857025 h 6859587"/>
              <a:gd name="connsiteX20" fmla="*/ 10273739 w 12195174"/>
              <a:gd name="connsiteY20" fmla="*/ 2435275 h 6859587"/>
              <a:gd name="connsiteX21" fmla="*/ 7980646 w 12195174"/>
              <a:gd name="connsiteY21" fmla="*/ 2264169 h 6859587"/>
              <a:gd name="connsiteX22" fmla="*/ 7639635 w 12195174"/>
              <a:gd name="connsiteY22" fmla="*/ 2604455 h 6859587"/>
              <a:gd name="connsiteX23" fmla="*/ 7639635 w 12195174"/>
              <a:gd name="connsiteY23" fmla="*/ 3625316 h 6859587"/>
              <a:gd name="connsiteX24" fmla="*/ 7980646 w 12195174"/>
              <a:gd name="connsiteY24" fmla="*/ 3965603 h 6859587"/>
              <a:gd name="connsiteX25" fmla="*/ 8321656 w 12195174"/>
              <a:gd name="connsiteY25" fmla="*/ 3625316 h 6859587"/>
              <a:gd name="connsiteX26" fmla="*/ 8321656 w 12195174"/>
              <a:gd name="connsiteY26" fmla="*/ 2604455 h 6859587"/>
              <a:gd name="connsiteX27" fmla="*/ 7980646 w 12195174"/>
              <a:gd name="connsiteY27" fmla="*/ 2264169 h 6859587"/>
              <a:gd name="connsiteX28" fmla="*/ 9084416 w 12195174"/>
              <a:gd name="connsiteY28" fmla="*/ 941097 h 6859587"/>
              <a:gd name="connsiteX29" fmla="*/ 8661460 w 12195174"/>
              <a:gd name="connsiteY29" fmla="*/ 1367640 h 6859587"/>
              <a:gd name="connsiteX30" fmla="*/ 8661460 w 12195174"/>
              <a:gd name="connsiteY30" fmla="*/ 4319890 h 6859587"/>
              <a:gd name="connsiteX31" fmla="*/ 9084416 w 12195174"/>
              <a:gd name="connsiteY31" fmla="*/ 4746432 h 6859587"/>
              <a:gd name="connsiteX32" fmla="*/ 9512178 w 12195174"/>
              <a:gd name="connsiteY32" fmla="*/ 4319890 h 6859587"/>
              <a:gd name="connsiteX33" fmla="*/ 9512178 w 12195174"/>
              <a:gd name="connsiteY33" fmla="*/ 1367640 h 6859587"/>
              <a:gd name="connsiteX34" fmla="*/ 9084416 w 12195174"/>
              <a:gd name="connsiteY34" fmla="*/ 941097 h 6859587"/>
              <a:gd name="connsiteX35" fmla="*/ 0 w 12195174"/>
              <a:gd name="connsiteY35" fmla="*/ 0 h 6859587"/>
              <a:gd name="connsiteX36" fmla="*/ 12195174 w 12195174"/>
              <a:gd name="connsiteY36" fmla="*/ 0 h 6859587"/>
              <a:gd name="connsiteX37" fmla="*/ 12195174 w 12195174"/>
              <a:gd name="connsiteY37" fmla="*/ 3250010 h 6859587"/>
              <a:gd name="connsiteX38" fmla="*/ 12154552 w 12195174"/>
              <a:gd name="connsiteY38" fmla="*/ 3253980 h 6859587"/>
              <a:gd name="connsiteX39" fmla="*/ 11984800 w 12195174"/>
              <a:gd name="connsiteY39" fmla="*/ 3451568 h 6859587"/>
              <a:gd name="connsiteX40" fmla="*/ 11984800 w 12195174"/>
              <a:gd name="connsiteY40" fmla="*/ 3725337 h 6859587"/>
              <a:gd name="connsiteX41" fmla="*/ 12154552 w 12195174"/>
              <a:gd name="connsiteY41" fmla="*/ 3927718 h 6859587"/>
              <a:gd name="connsiteX42" fmla="*/ 12195174 w 12195174"/>
              <a:gd name="connsiteY42" fmla="*/ 3931697 h 6859587"/>
              <a:gd name="connsiteX43" fmla="*/ 12195174 w 12195174"/>
              <a:gd name="connsiteY43" fmla="*/ 6859587 h 6859587"/>
              <a:gd name="connsiteX44" fmla="*/ 0 w 12195174"/>
              <a:gd name="connsiteY44" fmla="*/ 6859587 h 6859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12195174" h="6859587">
                <a:moveTo>
                  <a:pt x="7166078" y="3249843"/>
                </a:moveTo>
                <a:cubicBezTo>
                  <a:pt x="7051088" y="3249843"/>
                  <a:pt x="6964845" y="3341099"/>
                  <a:pt x="6964845" y="3451568"/>
                </a:cubicBezTo>
                <a:cubicBezTo>
                  <a:pt x="6964845" y="3451568"/>
                  <a:pt x="6964845" y="3451568"/>
                  <a:pt x="6964845" y="3725337"/>
                </a:cubicBezTo>
                <a:cubicBezTo>
                  <a:pt x="6964845" y="3840608"/>
                  <a:pt x="7051088" y="3931864"/>
                  <a:pt x="7166078" y="3931864"/>
                </a:cubicBezTo>
                <a:cubicBezTo>
                  <a:pt x="7276276" y="3931864"/>
                  <a:pt x="7367310" y="3840608"/>
                  <a:pt x="7367310" y="3725337"/>
                </a:cubicBezTo>
                <a:cubicBezTo>
                  <a:pt x="7367310" y="3725337"/>
                  <a:pt x="7367310" y="3725337"/>
                  <a:pt x="7367310" y="3451568"/>
                </a:cubicBezTo>
                <a:cubicBezTo>
                  <a:pt x="7367310" y="3341099"/>
                  <a:pt x="7276276" y="3249843"/>
                  <a:pt x="7166078" y="3249843"/>
                </a:cubicBezTo>
                <a:close/>
                <a:moveTo>
                  <a:pt x="11381105" y="3216105"/>
                </a:moveTo>
                <a:cubicBezTo>
                  <a:pt x="11193789" y="3216105"/>
                  <a:pt x="11040094" y="3369471"/>
                  <a:pt x="11040094" y="3556386"/>
                </a:cubicBezTo>
                <a:cubicBezTo>
                  <a:pt x="11040094" y="3556386"/>
                  <a:pt x="11040094" y="3556386"/>
                  <a:pt x="11040094" y="4572438"/>
                </a:cubicBezTo>
                <a:cubicBezTo>
                  <a:pt x="11040094" y="4759353"/>
                  <a:pt x="11193789" y="4912719"/>
                  <a:pt x="11381105" y="4912719"/>
                </a:cubicBezTo>
                <a:cubicBezTo>
                  <a:pt x="11568420" y="4912719"/>
                  <a:pt x="11722115" y="4759353"/>
                  <a:pt x="11722115" y="4572438"/>
                </a:cubicBezTo>
                <a:cubicBezTo>
                  <a:pt x="11722115" y="4572438"/>
                  <a:pt x="11722115" y="4572438"/>
                  <a:pt x="11722115" y="3556386"/>
                </a:cubicBezTo>
                <a:cubicBezTo>
                  <a:pt x="11722115" y="3369471"/>
                  <a:pt x="11568420" y="3216105"/>
                  <a:pt x="11381105" y="3216105"/>
                </a:cubicBezTo>
                <a:close/>
                <a:moveTo>
                  <a:pt x="10273739" y="2435275"/>
                </a:moveTo>
                <a:cubicBezTo>
                  <a:pt x="10043690" y="2435275"/>
                  <a:pt x="9851982" y="2626980"/>
                  <a:pt x="9851982" y="2857025"/>
                </a:cubicBezTo>
                <a:cubicBezTo>
                  <a:pt x="9851982" y="2857025"/>
                  <a:pt x="9851982" y="2857025"/>
                  <a:pt x="9851982" y="5814068"/>
                </a:cubicBezTo>
                <a:cubicBezTo>
                  <a:pt x="9851982" y="6048906"/>
                  <a:pt x="10043690" y="6240610"/>
                  <a:pt x="10273739" y="6240610"/>
                </a:cubicBezTo>
                <a:cubicBezTo>
                  <a:pt x="10508581" y="6240610"/>
                  <a:pt x="10700289" y="6048906"/>
                  <a:pt x="10700289" y="5814068"/>
                </a:cubicBezTo>
                <a:cubicBezTo>
                  <a:pt x="10700289" y="5814068"/>
                  <a:pt x="10700289" y="5814068"/>
                  <a:pt x="10700289" y="2857025"/>
                </a:cubicBezTo>
                <a:cubicBezTo>
                  <a:pt x="10700289" y="2626980"/>
                  <a:pt x="10508581" y="2435275"/>
                  <a:pt x="10273739" y="2435275"/>
                </a:cubicBezTo>
                <a:close/>
                <a:moveTo>
                  <a:pt x="7980646" y="2264169"/>
                </a:moveTo>
                <a:cubicBezTo>
                  <a:pt x="7793330" y="2264169"/>
                  <a:pt x="7639635" y="2417538"/>
                  <a:pt x="7639635" y="2604455"/>
                </a:cubicBezTo>
                <a:cubicBezTo>
                  <a:pt x="7639635" y="2604455"/>
                  <a:pt x="7639635" y="2604455"/>
                  <a:pt x="7639635" y="3625316"/>
                </a:cubicBezTo>
                <a:cubicBezTo>
                  <a:pt x="7639635" y="3812234"/>
                  <a:pt x="7793330" y="3965603"/>
                  <a:pt x="7980646" y="3965603"/>
                </a:cubicBezTo>
                <a:cubicBezTo>
                  <a:pt x="8167961" y="3965603"/>
                  <a:pt x="8321656" y="3812234"/>
                  <a:pt x="8321656" y="3625316"/>
                </a:cubicBezTo>
                <a:cubicBezTo>
                  <a:pt x="8321656" y="3625316"/>
                  <a:pt x="8321656" y="3625316"/>
                  <a:pt x="8321656" y="2604455"/>
                </a:cubicBezTo>
                <a:cubicBezTo>
                  <a:pt x="8321656" y="2417538"/>
                  <a:pt x="8167961" y="2264169"/>
                  <a:pt x="7980646" y="2264169"/>
                </a:cubicBezTo>
                <a:close/>
                <a:moveTo>
                  <a:pt x="9084416" y="941097"/>
                </a:moveTo>
                <a:cubicBezTo>
                  <a:pt x="8853713" y="941097"/>
                  <a:pt x="8661460" y="1132802"/>
                  <a:pt x="8661460" y="1367640"/>
                </a:cubicBezTo>
                <a:cubicBezTo>
                  <a:pt x="8661460" y="1367640"/>
                  <a:pt x="8661460" y="1367640"/>
                  <a:pt x="8661460" y="4319890"/>
                </a:cubicBezTo>
                <a:cubicBezTo>
                  <a:pt x="8661460" y="4554728"/>
                  <a:pt x="8853713" y="4746432"/>
                  <a:pt x="9084416" y="4746432"/>
                </a:cubicBezTo>
                <a:cubicBezTo>
                  <a:pt x="9319925" y="4746432"/>
                  <a:pt x="9512178" y="4554728"/>
                  <a:pt x="9512178" y="4319890"/>
                </a:cubicBezTo>
                <a:cubicBezTo>
                  <a:pt x="9512178" y="4319890"/>
                  <a:pt x="9512178" y="4319890"/>
                  <a:pt x="9512178" y="1367640"/>
                </a:cubicBezTo>
                <a:cubicBezTo>
                  <a:pt x="9512178" y="1132802"/>
                  <a:pt x="9319925" y="941097"/>
                  <a:pt x="9084416" y="941097"/>
                </a:cubicBezTo>
                <a:close/>
                <a:moveTo>
                  <a:pt x="0" y="0"/>
                </a:moveTo>
                <a:lnTo>
                  <a:pt x="12195174" y="0"/>
                </a:lnTo>
                <a:lnTo>
                  <a:pt x="12195174" y="3250010"/>
                </a:lnTo>
                <a:lnTo>
                  <a:pt x="12154552" y="3253980"/>
                </a:lnTo>
                <a:cubicBezTo>
                  <a:pt x="12058605" y="3272957"/>
                  <a:pt x="11984800" y="3354908"/>
                  <a:pt x="11984800" y="3451568"/>
                </a:cubicBezTo>
                <a:cubicBezTo>
                  <a:pt x="11984800" y="3725337"/>
                  <a:pt x="11984800" y="3725337"/>
                  <a:pt x="11984800" y="3725337"/>
                </a:cubicBezTo>
                <a:cubicBezTo>
                  <a:pt x="11984800" y="3826199"/>
                  <a:pt x="12058605" y="3908675"/>
                  <a:pt x="12154552" y="3927718"/>
                </a:cubicBezTo>
                <a:lnTo>
                  <a:pt x="12195174" y="3931697"/>
                </a:lnTo>
                <a:lnTo>
                  <a:pt x="12195174" y="6859587"/>
                </a:lnTo>
                <a:lnTo>
                  <a:pt x="0" y="6859587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tIns="504000" anchor="t" anchorCtr="0">
            <a:noAutofit/>
          </a:bodyPr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Insert image by clicking on placeholder + Images button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648000" y="1339200"/>
            <a:ext cx="5436000" cy="2473200"/>
          </a:xfrm>
        </p:spPr>
        <p:txBody>
          <a:bodyPr>
            <a:noAutofit/>
          </a:bodyPr>
          <a:lstStyle>
            <a:lvl1pPr>
              <a:defRPr sz="4000">
                <a:solidFill>
                  <a:schemeClr val="accent4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648000" y="4294800"/>
            <a:ext cx="5436000" cy="360083"/>
          </a:xfrm>
        </p:spPr>
        <p:txBody>
          <a:bodyPr>
            <a:noAutofit/>
          </a:bodyPr>
          <a:lstStyle>
            <a:lvl1pPr marL="0" indent="0" algn="l">
              <a:buNone/>
              <a:defRPr sz="1800" b="1">
                <a:solidFill>
                  <a:schemeClr val="bg1"/>
                </a:solidFill>
                <a:latin typeface="+mj-lt"/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648000" y="4773600"/>
            <a:ext cx="5436000" cy="2160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648000" y="5025600"/>
            <a:ext cx="5436000" cy="2160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4" name="Logotype">
            <a:extLst>
              <a:ext uri="{FF2B5EF4-FFF2-40B4-BE49-F238E27FC236}">
                <a16:creationId xmlns:a16="http://schemas.microsoft.com/office/drawing/2014/main" id="{AA0C9813-7F76-32AC-AEFF-1C7A7D0E03B0}"/>
              </a:ext>
            </a:extLst>
          </p:cNvPr>
          <p:cNvSpPr>
            <a:spLocks noChangeAspect="1"/>
          </p:cNvSpPr>
          <p:nvPr userDrawn="1"/>
        </p:nvSpPr>
        <p:spPr>
          <a:xfrm>
            <a:off x="641350" y="530890"/>
            <a:ext cx="1386000" cy="450119"/>
          </a:xfrm>
          <a:custGeom>
            <a:avLst/>
            <a:gdLst>
              <a:gd name="connsiteX0" fmla="*/ 720090 w 1296352"/>
              <a:gd name="connsiteY0" fmla="*/ 368618 h 421005"/>
              <a:gd name="connsiteX1" fmla="*/ 711518 w 1296352"/>
              <a:gd name="connsiteY1" fmla="*/ 392431 h 421005"/>
              <a:gd name="connsiteX2" fmla="*/ 710565 w 1296352"/>
              <a:gd name="connsiteY2" fmla="*/ 394336 h 421005"/>
              <a:gd name="connsiteX3" fmla="*/ 729615 w 1296352"/>
              <a:gd name="connsiteY3" fmla="*/ 394336 h 421005"/>
              <a:gd name="connsiteX4" fmla="*/ 728663 w 1296352"/>
              <a:gd name="connsiteY4" fmla="*/ 392431 h 421005"/>
              <a:gd name="connsiteX5" fmla="*/ 720090 w 1296352"/>
              <a:gd name="connsiteY5" fmla="*/ 368618 h 421005"/>
              <a:gd name="connsiteX6" fmla="*/ 565785 w 1296352"/>
              <a:gd name="connsiteY6" fmla="*/ 368618 h 421005"/>
              <a:gd name="connsiteX7" fmla="*/ 557213 w 1296352"/>
              <a:gd name="connsiteY7" fmla="*/ 392431 h 421005"/>
              <a:gd name="connsiteX8" fmla="*/ 556260 w 1296352"/>
              <a:gd name="connsiteY8" fmla="*/ 394336 h 421005"/>
              <a:gd name="connsiteX9" fmla="*/ 575310 w 1296352"/>
              <a:gd name="connsiteY9" fmla="*/ 394336 h 421005"/>
              <a:gd name="connsiteX10" fmla="*/ 574357 w 1296352"/>
              <a:gd name="connsiteY10" fmla="*/ 392431 h 421005"/>
              <a:gd name="connsiteX11" fmla="*/ 565785 w 1296352"/>
              <a:gd name="connsiteY11" fmla="*/ 368618 h 421005"/>
              <a:gd name="connsiteX12" fmla="*/ 100012 w 1296352"/>
              <a:gd name="connsiteY12" fmla="*/ 368618 h 421005"/>
              <a:gd name="connsiteX13" fmla="*/ 91440 w 1296352"/>
              <a:gd name="connsiteY13" fmla="*/ 392431 h 421005"/>
              <a:gd name="connsiteX14" fmla="*/ 90487 w 1296352"/>
              <a:gd name="connsiteY14" fmla="*/ 394336 h 421005"/>
              <a:gd name="connsiteX15" fmla="*/ 109537 w 1296352"/>
              <a:gd name="connsiteY15" fmla="*/ 394336 h 421005"/>
              <a:gd name="connsiteX16" fmla="*/ 108585 w 1296352"/>
              <a:gd name="connsiteY16" fmla="*/ 392431 h 421005"/>
              <a:gd name="connsiteX17" fmla="*/ 100012 w 1296352"/>
              <a:gd name="connsiteY17" fmla="*/ 368618 h 421005"/>
              <a:gd name="connsiteX18" fmla="*/ 915353 w 1296352"/>
              <a:gd name="connsiteY18" fmla="*/ 356236 h 421005"/>
              <a:gd name="connsiteX19" fmla="*/ 933451 w 1296352"/>
              <a:gd name="connsiteY19" fmla="*/ 356236 h 421005"/>
              <a:gd name="connsiteX20" fmla="*/ 942976 w 1296352"/>
              <a:gd name="connsiteY20" fmla="*/ 381953 h 421005"/>
              <a:gd name="connsiteX21" fmla="*/ 950596 w 1296352"/>
              <a:gd name="connsiteY21" fmla="*/ 401956 h 421005"/>
              <a:gd name="connsiteX22" fmla="*/ 958215 w 1296352"/>
              <a:gd name="connsiteY22" fmla="*/ 381953 h 421005"/>
              <a:gd name="connsiteX23" fmla="*/ 967740 w 1296352"/>
              <a:gd name="connsiteY23" fmla="*/ 356236 h 421005"/>
              <a:gd name="connsiteX24" fmla="*/ 986790 w 1296352"/>
              <a:gd name="connsiteY24" fmla="*/ 356236 h 421005"/>
              <a:gd name="connsiteX25" fmla="*/ 986790 w 1296352"/>
              <a:gd name="connsiteY25" fmla="*/ 419101 h 421005"/>
              <a:gd name="connsiteX26" fmla="*/ 973455 w 1296352"/>
              <a:gd name="connsiteY26" fmla="*/ 419101 h 421005"/>
              <a:gd name="connsiteX27" fmla="*/ 973455 w 1296352"/>
              <a:gd name="connsiteY27" fmla="*/ 396241 h 421005"/>
              <a:gd name="connsiteX28" fmla="*/ 973455 w 1296352"/>
              <a:gd name="connsiteY28" fmla="*/ 370523 h 421005"/>
              <a:gd name="connsiteX29" fmla="*/ 963930 w 1296352"/>
              <a:gd name="connsiteY29" fmla="*/ 396241 h 421005"/>
              <a:gd name="connsiteX30" fmla="*/ 955358 w 1296352"/>
              <a:gd name="connsiteY30" fmla="*/ 419101 h 421005"/>
              <a:gd name="connsiteX31" fmla="*/ 945833 w 1296352"/>
              <a:gd name="connsiteY31" fmla="*/ 419101 h 421005"/>
              <a:gd name="connsiteX32" fmla="*/ 937260 w 1296352"/>
              <a:gd name="connsiteY32" fmla="*/ 396241 h 421005"/>
              <a:gd name="connsiteX33" fmla="*/ 927735 w 1296352"/>
              <a:gd name="connsiteY33" fmla="*/ 371476 h 421005"/>
              <a:gd name="connsiteX34" fmla="*/ 927735 w 1296352"/>
              <a:gd name="connsiteY34" fmla="*/ 397193 h 421005"/>
              <a:gd name="connsiteX35" fmla="*/ 927735 w 1296352"/>
              <a:gd name="connsiteY35" fmla="*/ 420053 h 421005"/>
              <a:gd name="connsiteX36" fmla="*/ 915353 w 1296352"/>
              <a:gd name="connsiteY36" fmla="*/ 420053 h 421005"/>
              <a:gd name="connsiteX37" fmla="*/ 445770 w 1296352"/>
              <a:gd name="connsiteY37" fmla="*/ 356236 h 421005"/>
              <a:gd name="connsiteX38" fmla="*/ 463868 w 1296352"/>
              <a:gd name="connsiteY38" fmla="*/ 356236 h 421005"/>
              <a:gd name="connsiteX39" fmla="*/ 473393 w 1296352"/>
              <a:gd name="connsiteY39" fmla="*/ 381953 h 421005"/>
              <a:gd name="connsiteX40" fmla="*/ 481013 w 1296352"/>
              <a:gd name="connsiteY40" fmla="*/ 401956 h 421005"/>
              <a:gd name="connsiteX41" fmla="*/ 488633 w 1296352"/>
              <a:gd name="connsiteY41" fmla="*/ 381953 h 421005"/>
              <a:gd name="connsiteX42" fmla="*/ 498158 w 1296352"/>
              <a:gd name="connsiteY42" fmla="*/ 356236 h 421005"/>
              <a:gd name="connsiteX43" fmla="*/ 516255 w 1296352"/>
              <a:gd name="connsiteY43" fmla="*/ 356236 h 421005"/>
              <a:gd name="connsiteX44" fmla="*/ 516255 w 1296352"/>
              <a:gd name="connsiteY44" fmla="*/ 419101 h 421005"/>
              <a:gd name="connsiteX45" fmla="*/ 502920 w 1296352"/>
              <a:gd name="connsiteY45" fmla="*/ 419101 h 421005"/>
              <a:gd name="connsiteX46" fmla="*/ 502920 w 1296352"/>
              <a:gd name="connsiteY46" fmla="*/ 396241 h 421005"/>
              <a:gd name="connsiteX47" fmla="*/ 502920 w 1296352"/>
              <a:gd name="connsiteY47" fmla="*/ 370523 h 421005"/>
              <a:gd name="connsiteX48" fmla="*/ 493395 w 1296352"/>
              <a:gd name="connsiteY48" fmla="*/ 396241 h 421005"/>
              <a:gd name="connsiteX49" fmla="*/ 484822 w 1296352"/>
              <a:gd name="connsiteY49" fmla="*/ 419101 h 421005"/>
              <a:gd name="connsiteX50" fmla="*/ 475297 w 1296352"/>
              <a:gd name="connsiteY50" fmla="*/ 419101 h 421005"/>
              <a:gd name="connsiteX51" fmla="*/ 467678 w 1296352"/>
              <a:gd name="connsiteY51" fmla="*/ 396241 h 421005"/>
              <a:gd name="connsiteX52" fmla="*/ 458153 w 1296352"/>
              <a:gd name="connsiteY52" fmla="*/ 371476 h 421005"/>
              <a:gd name="connsiteX53" fmla="*/ 458153 w 1296352"/>
              <a:gd name="connsiteY53" fmla="*/ 397193 h 421005"/>
              <a:gd name="connsiteX54" fmla="*/ 458153 w 1296352"/>
              <a:gd name="connsiteY54" fmla="*/ 420053 h 421005"/>
              <a:gd name="connsiteX55" fmla="*/ 445770 w 1296352"/>
              <a:gd name="connsiteY55" fmla="*/ 420053 h 421005"/>
              <a:gd name="connsiteX56" fmla="*/ 1158240 w 1296352"/>
              <a:gd name="connsiteY56" fmla="*/ 355283 h 421005"/>
              <a:gd name="connsiteX57" fmla="*/ 1208723 w 1296352"/>
              <a:gd name="connsiteY57" fmla="*/ 355283 h 421005"/>
              <a:gd name="connsiteX58" fmla="*/ 1208723 w 1296352"/>
              <a:gd name="connsiteY58" fmla="*/ 366713 h 421005"/>
              <a:gd name="connsiteX59" fmla="*/ 1189673 w 1296352"/>
              <a:gd name="connsiteY59" fmla="*/ 366713 h 421005"/>
              <a:gd name="connsiteX60" fmla="*/ 1189673 w 1296352"/>
              <a:gd name="connsiteY60" fmla="*/ 419101 h 421005"/>
              <a:gd name="connsiteX61" fmla="*/ 1176338 w 1296352"/>
              <a:gd name="connsiteY61" fmla="*/ 419101 h 421005"/>
              <a:gd name="connsiteX62" fmla="*/ 1176338 w 1296352"/>
              <a:gd name="connsiteY62" fmla="*/ 366713 h 421005"/>
              <a:gd name="connsiteX63" fmla="*/ 1158240 w 1296352"/>
              <a:gd name="connsiteY63" fmla="*/ 366713 h 421005"/>
              <a:gd name="connsiteX64" fmla="*/ 1084897 w 1296352"/>
              <a:gd name="connsiteY64" fmla="*/ 355283 h 421005"/>
              <a:gd name="connsiteX65" fmla="*/ 1099185 w 1296352"/>
              <a:gd name="connsiteY65" fmla="*/ 355283 h 421005"/>
              <a:gd name="connsiteX66" fmla="*/ 1113472 w 1296352"/>
              <a:gd name="connsiteY66" fmla="*/ 377191 h 421005"/>
              <a:gd name="connsiteX67" fmla="*/ 1125855 w 1296352"/>
              <a:gd name="connsiteY67" fmla="*/ 397193 h 421005"/>
              <a:gd name="connsiteX68" fmla="*/ 1125855 w 1296352"/>
              <a:gd name="connsiteY68" fmla="*/ 355283 h 421005"/>
              <a:gd name="connsiteX69" fmla="*/ 1138237 w 1296352"/>
              <a:gd name="connsiteY69" fmla="*/ 355283 h 421005"/>
              <a:gd name="connsiteX70" fmla="*/ 1138237 w 1296352"/>
              <a:gd name="connsiteY70" fmla="*/ 419101 h 421005"/>
              <a:gd name="connsiteX71" fmla="*/ 1126807 w 1296352"/>
              <a:gd name="connsiteY71" fmla="*/ 419101 h 421005"/>
              <a:gd name="connsiteX72" fmla="*/ 1111567 w 1296352"/>
              <a:gd name="connsiteY72" fmla="*/ 395288 h 421005"/>
              <a:gd name="connsiteX73" fmla="*/ 1097280 w 1296352"/>
              <a:gd name="connsiteY73" fmla="*/ 373381 h 421005"/>
              <a:gd name="connsiteX74" fmla="*/ 1097280 w 1296352"/>
              <a:gd name="connsiteY74" fmla="*/ 419101 h 421005"/>
              <a:gd name="connsiteX75" fmla="*/ 1084897 w 1296352"/>
              <a:gd name="connsiteY75" fmla="*/ 419101 h 421005"/>
              <a:gd name="connsiteX76" fmla="*/ 1013460 w 1296352"/>
              <a:gd name="connsiteY76" fmla="*/ 355283 h 421005"/>
              <a:gd name="connsiteX77" fmla="*/ 1057275 w 1296352"/>
              <a:gd name="connsiteY77" fmla="*/ 355283 h 421005"/>
              <a:gd name="connsiteX78" fmla="*/ 1057275 w 1296352"/>
              <a:gd name="connsiteY78" fmla="*/ 366713 h 421005"/>
              <a:gd name="connsiteX79" fmla="*/ 1026795 w 1296352"/>
              <a:gd name="connsiteY79" fmla="*/ 366713 h 421005"/>
              <a:gd name="connsiteX80" fmla="*/ 1026795 w 1296352"/>
              <a:gd name="connsiteY80" fmla="*/ 381001 h 421005"/>
              <a:gd name="connsiteX81" fmla="*/ 1054418 w 1296352"/>
              <a:gd name="connsiteY81" fmla="*/ 381001 h 421005"/>
              <a:gd name="connsiteX82" fmla="*/ 1054418 w 1296352"/>
              <a:gd name="connsiteY82" fmla="*/ 392431 h 421005"/>
              <a:gd name="connsiteX83" fmla="*/ 1026795 w 1296352"/>
              <a:gd name="connsiteY83" fmla="*/ 392431 h 421005"/>
              <a:gd name="connsiteX84" fmla="*/ 1026795 w 1296352"/>
              <a:gd name="connsiteY84" fmla="*/ 407671 h 421005"/>
              <a:gd name="connsiteX85" fmla="*/ 1058227 w 1296352"/>
              <a:gd name="connsiteY85" fmla="*/ 407671 h 421005"/>
              <a:gd name="connsiteX86" fmla="*/ 1058227 w 1296352"/>
              <a:gd name="connsiteY86" fmla="*/ 419101 h 421005"/>
              <a:gd name="connsiteX87" fmla="*/ 1013460 w 1296352"/>
              <a:gd name="connsiteY87" fmla="*/ 419101 h 421005"/>
              <a:gd name="connsiteX88" fmla="*/ 845820 w 1296352"/>
              <a:gd name="connsiteY88" fmla="*/ 355283 h 421005"/>
              <a:gd name="connsiteX89" fmla="*/ 889635 w 1296352"/>
              <a:gd name="connsiteY89" fmla="*/ 355283 h 421005"/>
              <a:gd name="connsiteX90" fmla="*/ 889635 w 1296352"/>
              <a:gd name="connsiteY90" fmla="*/ 366713 h 421005"/>
              <a:gd name="connsiteX91" fmla="*/ 859155 w 1296352"/>
              <a:gd name="connsiteY91" fmla="*/ 366713 h 421005"/>
              <a:gd name="connsiteX92" fmla="*/ 859155 w 1296352"/>
              <a:gd name="connsiteY92" fmla="*/ 381001 h 421005"/>
              <a:gd name="connsiteX93" fmla="*/ 886778 w 1296352"/>
              <a:gd name="connsiteY93" fmla="*/ 381001 h 421005"/>
              <a:gd name="connsiteX94" fmla="*/ 886778 w 1296352"/>
              <a:gd name="connsiteY94" fmla="*/ 392431 h 421005"/>
              <a:gd name="connsiteX95" fmla="*/ 859155 w 1296352"/>
              <a:gd name="connsiteY95" fmla="*/ 392431 h 421005"/>
              <a:gd name="connsiteX96" fmla="*/ 859155 w 1296352"/>
              <a:gd name="connsiteY96" fmla="*/ 407671 h 421005"/>
              <a:gd name="connsiteX97" fmla="*/ 890588 w 1296352"/>
              <a:gd name="connsiteY97" fmla="*/ 407671 h 421005"/>
              <a:gd name="connsiteX98" fmla="*/ 890588 w 1296352"/>
              <a:gd name="connsiteY98" fmla="*/ 419101 h 421005"/>
              <a:gd name="connsiteX99" fmla="*/ 845820 w 1296352"/>
              <a:gd name="connsiteY99" fmla="*/ 419101 h 421005"/>
              <a:gd name="connsiteX100" fmla="*/ 713423 w 1296352"/>
              <a:gd name="connsiteY100" fmla="*/ 355283 h 421005"/>
              <a:gd name="connsiteX101" fmla="*/ 729615 w 1296352"/>
              <a:gd name="connsiteY101" fmla="*/ 355283 h 421005"/>
              <a:gd name="connsiteX102" fmla="*/ 753428 w 1296352"/>
              <a:gd name="connsiteY102" fmla="*/ 419101 h 421005"/>
              <a:gd name="connsiteX103" fmla="*/ 739140 w 1296352"/>
              <a:gd name="connsiteY103" fmla="*/ 419101 h 421005"/>
              <a:gd name="connsiteX104" fmla="*/ 734378 w 1296352"/>
              <a:gd name="connsiteY104" fmla="*/ 405766 h 421005"/>
              <a:gd name="connsiteX105" fmla="*/ 707708 w 1296352"/>
              <a:gd name="connsiteY105" fmla="*/ 405766 h 421005"/>
              <a:gd name="connsiteX106" fmla="*/ 702945 w 1296352"/>
              <a:gd name="connsiteY106" fmla="*/ 419101 h 421005"/>
              <a:gd name="connsiteX107" fmla="*/ 689610 w 1296352"/>
              <a:gd name="connsiteY107" fmla="*/ 419101 h 421005"/>
              <a:gd name="connsiteX108" fmla="*/ 617220 w 1296352"/>
              <a:gd name="connsiteY108" fmla="*/ 355283 h 421005"/>
              <a:gd name="connsiteX109" fmla="*/ 631508 w 1296352"/>
              <a:gd name="connsiteY109" fmla="*/ 355283 h 421005"/>
              <a:gd name="connsiteX110" fmla="*/ 645795 w 1296352"/>
              <a:gd name="connsiteY110" fmla="*/ 377191 h 421005"/>
              <a:gd name="connsiteX111" fmla="*/ 658178 w 1296352"/>
              <a:gd name="connsiteY111" fmla="*/ 397193 h 421005"/>
              <a:gd name="connsiteX112" fmla="*/ 658178 w 1296352"/>
              <a:gd name="connsiteY112" fmla="*/ 355283 h 421005"/>
              <a:gd name="connsiteX113" fmla="*/ 670560 w 1296352"/>
              <a:gd name="connsiteY113" fmla="*/ 355283 h 421005"/>
              <a:gd name="connsiteX114" fmla="*/ 670560 w 1296352"/>
              <a:gd name="connsiteY114" fmla="*/ 419101 h 421005"/>
              <a:gd name="connsiteX115" fmla="*/ 659130 w 1296352"/>
              <a:gd name="connsiteY115" fmla="*/ 419101 h 421005"/>
              <a:gd name="connsiteX116" fmla="*/ 643890 w 1296352"/>
              <a:gd name="connsiteY116" fmla="*/ 395288 h 421005"/>
              <a:gd name="connsiteX117" fmla="*/ 629603 w 1296352"/>
              <a:gd name="connsiteY117" fmla="*/ 373381 h 421005"/>
              <a:gd name="connsiteX118" fmla="*/ 629603 w 1296352"/>
              <a:gd name="connsiteY118" fmla="*/ 419101 h 421005"/>
              <a:gd name="connsiteX119" fmla="*/ 617220 w 1296352"/>
              <a:gd name="connsiteY119" fmla="*/ 419101 h 421005"/>
              <a:gd name="connsiteX120" fmla="*/ 559118 w 1296352"/>
              <a:gd name="connsiteY120" fmla="*/ 355283 h 421005"/>
              <a:gd name="connsiteX121" fmla="*/ 575310 w 1296352"/>
              <a:gd name="connsiteY121" fmla="*/ 355283 h 421005"/>
              <a:gd name="connsiteX122" fmla="*/ 599122 w 1296352"/>
              <a:gd name="connsiteY122" fmla="*/ 419101 h 421005"/>
              <a:gd name="connsiteX123" fmla="*/ 584835 w 1296352"/>
              <a:gd name="connsiteY123" fmla="*/ 419101 h 421005"/>
              <a:gd name="connsiteX124" fmla="*/ 580072 w 1296352"/>
              <a:gd name="connsiteY124" fmla="*/ 405766 h 421005"/>
              <a:gd name="connsiteX125" fmla="*/ 553403 w 1296352"/>
              <a:gd name="connsiteY125" fmla="*/ 405766 h 421005"/>
              <a:gd name="connsiteX126" fmla="*/ 548640 w 1296352"/>
              <a:gd name="connsiteY126" fmla="*/ 419101 h 421005"/>
              <a:gd name="connsiteX127" fmla="*/ 535305 w 1296352"/>
              <a:gd name="connsiteY127" fmla="*/ 419101 h 421005"/>
              <a:gd name="connsiteX128" fmla="*/ 338137 w 1296352"/>
              <a:gd name="connsiteY128" fmla="*/ 355283 h 421005"/>
              <a:gd name="connsiteX129" fmla="*/ 388619 w 1296352"/>
              <a:gd name="connsiteY129" fmla="*/ 355283 h 421005"/>
              <a:gd name="connsiteX130" fmla="*/ 388619 w 1296352"/>
              <a:gd name="connsiteY130" fmla="*/ 366713 h 421005"/>
              <a:gd name="connsiteX131" fmla="*/ 369569 w 1296352"/>
              <a:gd name="connsiteY131" fmla="*/ 366713 h 421005"/>
              <a:gd name="connsiteX132" fmla="*/ 369569 w 1296352"/>
              <a:gd name="connsiteY132" fmla="*/ 419101 h 421005"/>
              <a:gd name="connsiteX133" fmla="*/ 356234 w 1296352"/>
              <a:gd name="connsiteY133" fmla="*/ 419101 h 421005"/>
              <a:gd name="connsiteX134" fmla="*/ 356234 w 1296352"/>
              <a:gd name="connsiteY134" fmla="*/ 366713 h 421005"/>
              <a:gd name="connsiteX135" fmla="*/ 338137 w 1296352"/>
              <a:gd name="connsiteY135" fmla="*/ 366713 h 421005"/>
              <a:gd name="connsiteX136" fmla="*/ 274320 w 1296352"/>
              <a:gd name="connsiteY136" fmla="*/ 355283 h 421005"/>
              <a:gd name="connsiteX137" fmla="*/ 318135 w 1296352"/>
              <a:gd name="connsiteY137" fmla="*/ 355283 h 421005"/>
              <a:gd name="connsiteX138" fmla="*/ 318135 w 1296352"/>
              <a:gd name="connsiteY138" fmla="*/ 366713 h 421005"/>
              <a:gd name="connsiteX139" fmla="*/ 287655 w 1296352"/>
              <a:gd name="connsiteY139" fmla="*/ 366713 h 421005"/>
              <a:gd name="connsiteX140" fmla="*/ 287655 w 1296352"/>
              <a:gd name="connsiteY140" fmla="*/ 381001 h 421005"/>
              <a:gd name="connsiteX141" fmla="*/ 315278 w 1296352"/>
              <a:gd name="connsiteY141" fmla="*/ 381001 h 421005"/>
              <a:gd name="connsiteX142" fmla="*/ 315278 w 1296352"/>
              <a:gd name="connsiteY142" fmla="*/ 392431 h 421005"/>
              <a:gd name="connsiteX143" fmla="*/ 287655 w 1296352"/>
              <a:gd name="connsiteY143" fmla="*/ 392431 h 421005"/>
              <a:gd name="connsiteX144" fmla="*/ 287655 w 1296352"/>
              <a:gd name="connsiteY144" fmla="*/ 407671 h 421005"/>
              <a:gd name="connsiteX145" fmla="*/ 319088 w 1296352"/>
              <a:gd name="connsiteY145" fmla="*/ 407671 h 421005"/>
              <a:gd name="connsiteX146" fmla="*/ 319088 w 1296352"/>
              <a:gd name="connsiteY146" fmla="*/ 419101 h 421005"/>
              <a:gd name="connsiteX147" fmla="*/ 274320 w 1296352"/>
              <a:gd name="connsiteY147" fmla="*/ 419101 h 421005"/>
              <a:gd name="connsiteX148" fmla="*/ 92393 w 1296352"/>
              <a:gd name="connsiteY148" fmla="*/ 355283 h 421005"/>
              <a:gd name="connsiteX149" fmla="*/ 108585 w 1296352"/>
              <a:gd name="connsiteY149" fmla="*/ 355283 h 421005"/>
              <a:gd name="connsiteX150" fmla="*/ 132398 w 1296352"/>
              <a:gd name="connsiteY150" fmla="*/ 419101 h 421005"/>
              <a:gd name="connsiteX151" fmla="*/ 118110 w 1296352"/>
              <a:gd name="connsiteY151" fmla="*/ 419101 h 421005"/>
              <a:gd name="connsiteX152" fmla="*/ 113348 w 1296352"/>
              <a:gd name="connsiteY152" fmla="*/ 405766 h 421005"/>
              <a:gd name="connsiteX153" fmla="*/ 86678 w 1296352"/>
              <a:gd name="connsiteY153" fmla="*/ 405766 h 421005"/>
              <a:gd name="connsiteX154" fmla="*/ 81915 w 1296352"/>
              <a:gd name="connsiteY154" fmla="*/ 419101 h 421005"/>
              <a:gd name="connsiteX155" fmla="*/ 68580 w 1296352"/>
              <a:gd name="connsiteY155" fmla="*/ 419101 h 421005"/>
              <a:gd name="connsiteX156" fmla="*/ 797242 w 1296352"/>
              <a:gd name="connsiteY156" fmla="*/ 354330 h 421005"/>
              <a:gd name="connsiteX157" fmla="*/ 818197 w 1296352"/>
              <a:gd name="connsiteY157" fmla="*/ 360998 h 421005"/>
              <a:gd name="connsiteX158" fmla="*/ 810577 w 1296352"/>
              <a:gd name="connsiteY158" fmla="*/ 370523 h 421005"/>
              <a:gd name="connsiteX159" fmla="*/ 796290 w 1296352"/>
              <a:gd name="connsiteY159" fmla="*/ 365760 h 421005"/>
              <a:gd name="connsiteX160" fmla="*/ 778192 w 1296352"/>
              <a:gd name="connsiteY160" fmla="*/ 386715 h 421005"/>
              <a:gd name="connsiteX161" fmla="*/ 796290 w 1296352"/>
              <a:gd name="connsiteY161" fmla="*/ 408623 h 421005"/>
              <a:gd name="connsiteX162" fmla="*/ 806767 w 1296352"/>
              <a:gd name="connsiteY162" fmla="*/ 405765 h 421005"/>
              <a:gd name="connsiteX163" fmla="*/ 806767 w 1296352"/>
              <a:gd name="connsiteY163" fmla="*/ 393382 h 421005"/>
              <a:gd name="connsiteX164" fmla="*/ 792480 w 1296352"/>
              <a:gd name="connsiteY164" fmla="*/ 393382 h 421005"/>
              <a:gd name="connsiteX165" fmla="*/ 792480 w 1296352"/>
              <a:gd name="connsiteY165" fmla="*/ 381953 h 421005"/>
              <a:gd name="connsiteX166" fmla="*/ 820102 w 1296352"/>
              <a:gd name="connsiteY166" fmla="*/ 381953 h 421005"/>
              <a:gd name="connsiteX167" fmla="*/ 820102 w 1296352"/>
              <a:gd name="connsiteY167" fmla="*/ 382905 h 421005"/>
              <a:gd name="connsiteX168" fmla="*/ 820102 w 1296352"/>
              <a:gd name="connsiteY168" fmla="*/ 411480 h 421005"/>
              <a:gd name="connsiteX169" fmla="*/ 796290 w 1296352"/>
              <a:gd name="connsiteY169" fmla="*/ 421005 h 421005"/>
              <a:gd name="connsiteX170" fmla="*/ 764857 w 1296352"/>
              <a:gd name="connsiteY170" fmla="*/ 387668 h 421005"/>
              <a:gd name="connsiteX171" fmla="*/ 797242 w 1296352"/>
              <a:gd name="connsiteY171" fmla="*/ 354330 h 421005"/>
              <a:gd name="connsiteX172" fmla="*/ 232411 w 1296352"/>
              <a:gd name="connsiteY172" fmla="*/ 354330 h 421005"/>
              <a:gd name="connsiteX173" fmla="*/ 253366 w 1296352"/>
              <a:gd name="connsiteY173" fmla="*/ 360998 h 421005"/>
              <a:gd name="connsiteX174" fmla="*/ 246698 w 1296352"/>
              <a:gd name="connsiteY174" fmla="*/ 370523 h 421005"/>
              <a:gd name="connsiteX175" fmla="*/ 231458 w 1296352"/>
              <a:gd name="connsiteY175" fmla="*/ 365760 h 421005"/>
              <a:gd name="connsiteX176" fmla="*/ 220981 w 1296352"/>
              <a:gd name="connsiteY176" fmla="*/ 372428 h 421005"/>
              <a:gd name="connsiteX177" fmla="*/ 234316 w 1296352"/>
              <a:gd name="connsiteY177" fmla="*/ 381000 h 421005"/>
              <a:gd name="connsiteX178" fmla="*/ 254318 w 1296352"/>
              <a:gd name="connsiteY178" fmla="*/ 400050 h 421005"/>
              <a:gd name="connsiteX179" fmla="*/ 230506 w 1296352"/>
              <a:gd name="connsiteY179" fmla="*/ 420053 h 421005"/>
              <a:gd name="connsiteX180" fmla="*/ 206693 w 1296352"/>
              <a:gd name="connsiteY180" fmla="*/ 411480 h 421005"/>
              <a:gd name="connsiteX181" fmla="*/ 213361 w 1296352"/>
              <a:gd name="connsiteY181" fmla="*/ 401955 h 421005"/>
              <a:gd name="connsiteX182" fmla="*/ 231458 w 1296352"/>
              <a:gd name="connsiteY182" fmla="*/ 408623 h 421005"/>
              <a:gd name="connsiteX183" fmla="*/ 241936 w 1296352"/>
              <a:gd name="connsiteY183" fmla="*/ 401003 h 421005"/>
              <a:gd name="connsiteX184" fmla="*/ 229553 w 1296352"/>
              <a:gd name="connsiteY184" fmla="*/ 392430 h 421005"/>
              <a:gd name="connsiteX185" fmla="*/ 208598 w 1296352"/>
              <a:gd name="connsiteY185" fmla="*/ 373380 h 421005"/>
              <a:gd name="connsiteX186" fmla="*/ 232411 w 1296352"/>
              <a:gd name="connsiteY186" fmla="*/ 354330 h 421005"/>
              <a:gd name="connsiteX187" fmla="*/ 169545 w 1296352"/>
              <a:gd name="connsiteY187" fmla="*/ 354330 h 421005"/>
              <a:gd name="connsiteX188" fmla="*/ 190500 w 1296352"/>
              <a:gd name="connsiteY188" fmla="*/ 360998 h 421005"/>
              <a:gd name="connsiteX189" fmla="*/ 183833 w 1296352"/>
              <a:gd name="connsiteY189" fmla="*/ 370523 h 421005"/>
              <a:gd name="connsiteX190" fmla="*/ 168593 w 1296352"/>
              <a:gd name="connsiteY190" fmla="*/ 365760 h 421005"/>
              <a:gd name="connsiteX191" fmla="*/ 158116 w 1296352"/>
              <a:gd name="connsiteY191" fmla="*/ 372428 h 421005"/>
              <a:gd name="connsiteX192" fmla="*/ 171450 w 1296352"/>
              <a:gd name="connsiteY192" fmla="*/ 381000 h 421005"/>
              <a:gd name="connsiteX193" fmla="*/ 191453 w 1296352"/>
              <a:gd name="connsiteY193" fmla="*/ 400050 h 421005"/>
              <a:gd name="connsiteX194" fmla="*/ 167641 w 1296352"/>
              <a:gd name="connsiteY194" fmla="*/ 420053 h 421005"/>
              <a:gd name="connsiteX195" fmla="*/ 143828 w 1296352"/>
              <a:gd name="connsiteY195" fmla="*/ 411480 h 421005"/>
              <a:gd name="connsiteX196" fmla="*/ 150495 w 1296352"/>
              <a:gd name="connsiteY196" fmla="*/ 401955 h 421005"/>
              <a:gd name="connsiteX197" fmla="*/ 168593 w 1296352"/>
              <a:gd name="connsiteY197" fmla="*/ 408623 h 421005"/>
              <a:gd name="connsiteX198" fmla="*/ 179070 w 1296352"/>
              <a:gd name="connsiteY198" fmla="*/ 401003 h 421005"/>
              <a:gd name="connsiteX199" fmla="*/ 166688 w 1296352"/>
              <a:gd name="connsiteY199" fmla="*/ 392430 h 421005"/>
              <a:gd name="connsiteX200" fmla="*/ 145733 w 1296352"/>
              <a:gd name="connsiteY200" fmla="*/ 373380 h 421005"/>
              <a:gd name="connsiteX201" fmla="*/ 169545 w 1296352"/>
              <a:gd name="connsiteY201" fmla="*/ 354330 h 421005"/>
              <a:gd name="connsiteX202" fmla="*/ 367665 w 1296352"/>
              <a:gd name="connsiteY202" fmla="*/ 101918 h 421005"/>
              <a:gd name="connsiteX203" fmla="*/ 306705 w 1296352"/>
              <a:gd name="connsiteY203" fmla="*/ 162878 h 421005"/>
              <a:gd name="connsiteX204" fmla="*/ 367665 w 1296352"/>
              <a:gd name="connsiteY204" fmla="*/ 223838 h 421005"/>
              <a:gd name="connsiteX205" fmla="*/ 428625 w 1296352"/>
              <a:gd name="connsiteY205" fmla="*/ 162878 h 421005"/>
              <a:gd name="connsiteX206" fmla="*/ 367665 w 1296352"/>
              <a:gd name="connsiteY206" fmla="*/ 101918 h 421005"/>
              <a:gd name="connsiteX207" fmla="*/ 1190625 w 1296352"/>
              <a:gd name="connsiteY207" fmla="*/ 100966 h 421005"/>
              <a:gd name="connsiteX208" fmla="*/ 1129665 w 1296352"/>
              <a:gd name="connsiteY208" fmla="*/ 169546 h 421005"/>
              <a:gd name="connsiteX209" fmla="*/ 1183005 w 1296352"/>
              <a:gd name="connsiteY209" fmla="*/ 222886 h 421005"/>
              <a:gd name="connsiteX210" fmla="*/ 1251585 w 1296352"/>
              <a:gd name="connsiteY210" fmla="*/ 165736 h 421005"/>
              <a:gd name="connsiteX211" fmla="*/ 1251585 w 1296352"/>
              <a:gd name="connsiteY211" fmla="*/ 159068 h 421005"/>
              <a:gd name="connsiteX212" fmla="*/ 1190625 w 1296352"/>
              <a:gd name="connsiteY212" fmla="*/ 100966 h 421005"/>
              <a:gd name="connsiteX213" fmla="*/ 718185 w 1296352"/>
              <a:gd name="connsiteY213" fmla="*/ 100965 h 421005"/>
              <a:gd name="connsiteX214" fmla="*/ 657225 w 1296352"/>
              <a:gd name="connsiteY214" fmla="*/ 169545 h 421005"/>
              <a:gd name="connsiteX215" fmla="*/ 710565 w 1296352"/>
              <a:gd name="connsiteY215" fmla="*/ 222885 h 421005"/>
              <a:gd name="connsiteX216" fmla="*/ 779145 w 1296352"/>
              <a:gd name="connsiteY216" fmla="*/ 165735 h 421005"/>
              <a:gd name="connsiteX217" fmla="*/ 779145 w 1296352"/>
              <a:gd name="connsiteY217" fmla="*/ 159067 h 421005"/>
              <a:gd name="connsiteX218" fmla="*/ 718185 w 1296352"/>
              <a:gd name="connsiteY218" fmla="*/ 100965 h 421005"/>
              <a:gd name="connsiteX219" fmla="*/ 962546 w 1296352"/>
              <a:gd name="connsiteY219" fmla="*/ 96694 h 421005"/>
              <a:gd name="connsiteX220" fmla="*/ 939165 w 1296352"/>
              <a:gd name="connsiteY220" fmla="*/ 100966 h 421005"/>
              <a:gd name="connsiteX221" fmla="*/ 897255 w 1296352"/>
              <a:gd name="connsiteY221" fmla="*/ 159068 h 421005"/>
              <a:gd name="connsiteX222" fmla="*/ 1012508 w 1296352"/>
              <a:gd name="connsiteY222" fmla="*/ 127636 h 421005"/>
              <a:gd name="connsiteX223" fmla="*/ 962546 w 1296352"/>
              <a:gd name="connsiteY223" fmla="*/ 96694 h 421005"/>
              <a:gd name="connsiteX224" fmla="*/ 1182052 w 1296352"/>
              <a:gd name="connsiteY224" fmla="*/ 57151 h 421005"/>
              <a:gd name="connsiteX225" fmla="*/ 1296352 w 1296352"/>
              <a:gd name="connsiteY225" fmla="*/ 165736 h 421005"/>
              <a:gd name="connsiteX226" fmla="*/ 1296352 w 1296352"/>
              <a:gd name="connsiteY226" fmla="*/ 266701 h 421005"/>
              <a:gd name="connsiteX227" fmla="*/ 1255395 w 1296352"/>
              <a:gd name="connsiteY227" fmla="*/ 266701 h 421005"/>
              <a:gd name="connsiteX228" fmla="*/ 1255395 w 1296352"/>
              <a:gd name="connsiteY228" fmla="*/ 235268 h 421005"/>
              <a:gd name="connsiteX229" fmla="*/ 1189672 w 1296352"/>
              <a:gd name="connsiteY229" fmla="*/ 269558 h 421005"/>
              <a:gd name="connsiteX230" fmla="*/ 1083945 w 1296352"/>
              <a:gd name="connsiteY230" fmla="*/ 156211 h 421005"/>
              <a:gd name="connsiteX231" fmla="*/ 1182052 w 1296352"/>
              <a:gd name="connsiteY231" fmla="*/ 57151 h 421005"/>
              <a:gd name="connsiteX232" fmla="*/ 957263 w 1296352"/>
              <a:gd name="connsiteY232" fmla="*/ 57151 h 421005"/>
              <a:gd name="connsiteX233" fmla="*/ 1065847 w 1296352"/>
              <a:gd name="connsiteY233" fmla="*/ 152401 h 421005"/>
              <a:gd name="connsiteX234" fmla="*/ 906780 w 1296352"/>
              <a:gd name="connsiteY234" fmla="*/ 196216 h 421005"/>
              <a:gd name="connsiteX235" fmla="*/ 972502 w 1296352"/>
              <a:gd name="connsiteY235" fmla="*/ 227648 h 421005"/>
              <a:gd name="connsiteX236" fmla="*/ 1018222 w 1296352"/>
              <a:gd name="connsiteY236" fmla="*/ 192406 h 421005"/>
              <a:gd name="connsiteX237" fmla="*/ 1059180 w 1296352"/>
              <a:gd name="connsiteY237" fmla="*/ 204788 h 421005"/>
              <a:gd name="connsiteX238" fmla="*/ 960120 w 1296352"/>
              <a:gd name="connsiteY238" fmla="*/ 270511 h 421005"/>
              <a:gd name="connsiteX239" fmla="*/ 853440 w 1296352"/>
              <a:gd name="connsiteY239" fmla="*/ 164783 h 421005"/>
              <a:gd name="connsiteX240" fmla="*/ 957263 w 1296352"/>
              <a:gd name="connsiteY240" fmla="*/ 57151 h 421005"/>
              <a:gd name="connsiteX241" fmla="*/ 606742 w 1296352"/>
              <a:gd name="connsiteY241" fmla="*/ 56198 h 421005"/>
              <a:gd name="connsiteX242" fmla="*/ 606742 w 1296352"/>
              <a:gd name="connsiteY242" fmla="*/ 100013 h 421005"/>
              <a:gd name="connsiteX243" fmla="*/ 547688 w 1296352"/>
              <a:gd name="connsiteY243" fmla="*/ 165736 h 421005"/>
              <a:gd name="connsiteX244" fmla="*/ 547688 w 1296352"/>
              <a:gd name="connsiteY244" fmla="*/ 265748 h 421005"/>
              <a:gd name="connsiteX245" fmla="*/ 501015 w 1296352"/>
              <a:gd name="connsiteY245" fmla="*/ 265748 h 421005"/>
              <a:gd name="connsiteX246" fmla="*/ 501015 w 1296352"/>
              <a:gd name="connsiteY246" fmla="*/ 160021 h 421005"/>
              <a:gd name="connsiteX247" fmla="*/ 501015 w 1296352"/>
              <a:gd name="connsiteY247" fmla="*/ 62866 h 421005"/>
              <a:gd name="connsiteX248" fmla="*/ 546735 w 1296352"/>
              <a:gd name="connsiteY248" fmla="*/ 62866 h 421005"/>
              <a:gd name="connsiteX249" fmla="*/ 546735 w 1296352"/>
              <a:gd name="connsiteY249" fmla="*/ 86678 h 421005"/>
              <a:gd name="connsiteX250" fmla="*/ 606742 w 1296352"/>
              <a:gd name="connsiteY250" fmla="*/ 56198 h 421005"/>
              <a:gd name="connsiteX251" fmla="*/ 367665 w 1296352"/>
              <a:gd name="connsiteY251" fmla="*/ 56198 h 421005"/>
              <a:gd name="connsiteX252" fmla="*/ 474345 w 1296352"/>
              <a:gd name="connsiteY252" fmla="*/ 162878 h 421005"/>
              <a:gd name="connsiteX253" fmla="*/ 367665 w 1296352"/>
              <a:gd name="connsiteY253" fmla="*/ 269558 h 421005"/>
              <a:gd name="connsiteX254" fmla="*/ 260985 w 1296352"/>
              <a:gd name="connsiteY254" fmla="*/ 162878 h 421005"/>
              <a:gd name="connsiteX255" fmla="*/ 367665 w 1296352"/>
              <a:gd name="connsiteY255" fmla="*/ 56198 h 421005"/>
              <a:gd name="connsiteX256" fmla="*/ 0 w 1296352"/>
              <a:gd name="connsiteY256" fmla="*/ 20956 h 421005"/>
              <a:gd name="connsiteX257" fmla="*/ 47625 w 1296352"/>
              <a:gd name="connsiteY257" fmla="*/ 20956 h 421005"/>
              <a:gd name="connsiteX258" fmla="*/ 186690 w 1296352"/>
              <a:gd name="connsiteY258" fmla="*/ 184786 h 421005"/>
              <a:gd name="connsiteX259" fmla="*/ 186690 w 1296352"/>
              <a:gd name="connsiteY259" fmla="*/ 20956 h 421005"/>
              <a:gd name="connsiteX260" fmla="*/ 233363 w 1296352"/>
              <a:gd name="connsiteY260" fmla="*/ 20956 h 421005"/>
              <a:gd name="connsiteX261" fmla="*/ 233363 w 1296352"/>
              <a:gd name="connsiteY261" fmla="*/ 266701 h 421005"/>
              <a:gd name="connsiteX262" fmla="*/ 190500 w 1296352"/>
              <a:gd name="connsiteY262" fmla="*/ 266701 h 421005"/>
              <a:gd name="connsiteX263" fmla="*/ 49530 w 1296352"/>
              <a:gd name="connsiteY263" fmla="*/ 101918 h 421005"/>
              <a:gd name="connsiteX264" fmla="*/ 49530 w 1296352"/>
              <a:gd name="connsiteY264" fmla="*/ 265748 h 421005"/>
              <a:gd name="connsiteX265" fmla="*/ 0 w 1296352"/>
              <a:gd name="connsiteY265" fmla="*/ 265748 h 421005"/>
              <a:gd name="connsiteX266" fmla="*/ 781050 w 1296352"/>
              <a:gd name="connsiteY266" fmla="*/ 0 h 421005"/>
              <a:gd name="connsiteX267" fmla="*/ 824865 w 1296352"/>
              <a:gd name="connsiteY267" fmla="*/ 0 h 421005"/>
              <a:gd name="connsiteX268" fmla="*/ 824865 w 1296352"/>
              <a:gd name="connsiteY268" fmla="*/ 160973 h 421005"/>
              <a:gd name="connsiteX269" fmla="*/ 824865 w 1296352"/>
              <a:gd name="connsiteY269" fmla="*/ 162878 h 421005"/>
              <a:gd name="connsiteX270" fmla="*/ 824865 w 1296352"/>
              <a:gd name="connsiteY270" fmla="*/ 164783 h 421005"/>
              <a:gd name="connsiteX271" fmla="*/ 824865 w 1296352"/>
              <a:gd name="connsiteY271" fmla="*/ 267653 h 421005"/>
              <a:gd name="connsiteX272" fmla="*/ 783908 w 1296352"/>
              <a:gd name="connsiteY272" fmla="*/ 267653 h 421005"/>
              <a:gd name="connsiteX273" fmla="*/ 783908 w 1296352"/>
              <a:gd name="connsiteY273" fmla="*/ 240030 h 421005"/>
              <a:gd name="connsiteX274" fmla="*/ 718185 w 1296352"/>
              <a:gd name="connsiteY274" fmla="*/ 270510 h 421005"/>
              <a:gd name="connsiteX275" fmla="*/ 612458 w 1296352"/>
              <a:gd name="connsiteY275" fmla="*/ 157163 h 421005"/>
              <a:gd name="connsiteX276" fmla="*/ 710565 w 1296352"/>
              <a:gd name="connsiteY276" fmla="*/ 58103 h 421005"/>
              <a:gd name="connsiteX277" fmla="*/ 781050 w 1296352"/>
              <a:gd name="connsiteY277" fmla="*/ 80010 h 42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</a:cxnLst>
            <a:rect l="l" t="t" r="r" b="b"/>
            <a:pathLst>
              <a:path w="1296352" h="421005">
                <a:moveTo>
                  <a:pt x="720090" y="368618"/>
                </a:moveTo>
                <a:cubicBezTo>
                  <a:pt x="717233" y="376238"/>
                  <a:pt x="714375" y="384811"/>
                  <a:pt x="711518" y="392431"/>
                </a:cubicBezTo>
                <a:lnTo>
                  <a:pt x="710565" y="394336"/>
                </a:lnTo>
                <a:lnTo>
                  <a:pt x="729615" y="394336"/>
                </a:lnTo>
                <a:lnTo>
                  <a:pt x="728663" y="392431"/>
                </a:lnTo>
                <a:cubicBezTo>
                  <a:pt x="725805" y="384811"/>
                  <a:pt x="722948" y="376238"/>
                  <a:pt x="720090" y="368618"/>
                </a:cubicBezTo>
                <a:close/>
                <a:moveTo>
                  <a:pt x="565785" y="368618"/>
                </a:moveTo>
                <a:cubicBezTo>
                  <a:pt x="562928" y="376238"/>
                  <a:pt x="560070" y="384811"/>
                  <a:pt x="557213" y="392431"/>
                </a:cubicBezTo>
                <a:lnTo>
                  <a:pt x="556260" y="394336"/>
                </a:lnTo>
                <a:lnTo>
                  <a:pt x="575310" y="394336"/>
                </a:lnTo>
                <a:lnTo>
                  <a:pt x="574357" y="392431"/>
                </a:lnTo>
                <a:cubicBezTo>
                  <a:pt x="571500" y="384811"/>
                  <a:pt x="568643" y="376238"/>
                  <a:pt x="565785" y="368618"/>
                </a:cubicBezTo>
                <a:close/>
                <a:moveTo>
                  <a:pt x="100012" y="368618"/>
                </a:moveTo>
                <a:cubicBezTo>
                  <a:pt x="97155" y="376238"/>
                  <a:pt x="94298" y="384811"/>
                  <a:pt x="91440" y="392431"/>
                </a:cubicBezTo>
                <a:lnTo>
                  <a:pt x="90487" y="394336"/>
                </a:lnTo>
                <a:lnTo>
                  <a:pt x="109537" y="394336"/>
                </a:lnTo>
                <a:lnTo>
                  <a:pt x="108585" y="392431"/>
                </a:lnTo>
                <a:cubicBezTo>
                  <a:pt x="105728" y="384811"/>
                  <a:pt x="102870" y="376238"/>
                  <a:pt x="100012" y="368618"/>
                </a:cubicBezTo>
                <a:close/>
                <a:moveTo>
                  <a:pt x="915353" y="356236"/>
                </a:moveTo>
                <a:lnTo>
                  <a:pt x="933451" y="356236"/>
                </a:lnTo>
                <a:lnTo>
                  <a:pt x="942976" y="381953"/>
                </a:lnTo>
                <a:cubicBezTo>
                  <a:pt x="945833" y="388621"/>
                  <a:pt x="947738" y="395288"/>
                  <a:pt x="950596" y="401956"/>
                </a:cubicBezTo>
                <a:cubicBezTo>
                  <a:pt x="952501" y="395288"/>
                  <a:pt x="955358" y="388621"/>
                  <a:pt x="958215" y="381953"/>
                </a:cubicBezTo>
                <a:lnTo>
                  <a:pt x="967740" y="356236"/>
                </a:lnTo>
                <a:lnTo>
                  <a:pt x="986790" y="356236"/>
                </a:lnTo>
                <a:lnTo>
                  <a:pt x="986790" y="419101"/>
                </a:lnTo>
                <a:lnTo>
                  <a:pt x="973455" y="419101"/>
                </a:lnTo>
                <a:lnTo>
                  <a:pt x="973455" y="396241"/>
                </a:lnTo>
                <a:cubicBezTo>
                  <a:pt x="973455" y="387668"/>
                  <a:pt x="973455" y="379096"/>
                  <a:pt x="973455" y="370523"/>
                </a:cubicBezTo>
                <a:cubicBezTo>
                  <a:pt x="970598" y="379096"/>
                  <a:pt x="967740" y="387668"/>
                  <a:pt x="963930" y="396241"/>
                </a:cubicBezTo>
                <a:lnTo>
                  <a:pt x="955358" y="419101"/>
                </a:lnTo>
                <a:lnTo>
                  <a:pt x="945833" y="419101"/>
                </a:lnTo>
                <a:lnTo>
                  <a:pt x="937260" y="396241"/>
                </a:lnTo>
                <a:cubicBezTo>
                  <a:pt x="934403" y="387668"/>
                  <a:pt x="930593" y="380048"/>
                  <a:pt x="927735" y="371476"/>
                </a:cubicBezTo>
                <a:cubicBezTo>
                  <a:pt x="927735" y="380048"/>
                  <a:pt x="927735" y="388621"/>
                  <a:pt x="927735" y="397193"/>
                </a:cubicBezTo>
                <a:lnTo>
                  <a:pt x="927735" y="420053"/>
                </a:lnTo>
                <a:lnTo>
                  <a:pt x="915353" y="420053"/>
                </a:lnTo>
                <a:close/>
                <a:moveTo>
                  <a:pt x="445770" y="356236"/>
                </a:moveTo>
                <a:lnTo>
                  <a:pt x="463868" y="356236"/>
                </a:lnTo>
                <a:lnTo>
                  <a:pt x="473393" y="381953"/>
                </a:lnTo>
                <a:cubicBezTo>
                  <a:pt x="476250" y="388621"/>
                  <a:pt x="478155" y="395288"/>
                  <a:pt x="481013" y="401956"/>
                </a:cubicBezTo>
                <a:cubicBezTo>
                  <a:pt x="482918" y="395288"/>
                  <a:pt x="485775" y="388621"/>
                  <a:pt x="488633" y="381953"/>
                </a:cubicBezTo>
                <a:lnTo>
                  <a:pt x="498158" y="356236"/>
                </a:lnTo>
                <a:lnTo>
                  <a:pt x="516255" y="356236"/>
                </a:lnTo>
                <a:lnTo>
                  <a:pt x="516255" y="419101"/>
                </a:lnTo>
                <a:lnTo>
                  <a:pt x="502920" y="419101"/>
                </a:lnTo>
                <a:lnTo>
                  <a:pt x="502920" y="396241"/>
                </a:lnTo>
                <a:cubicBezTo>
                  <a:pt x="502920" y="387668"/>
                  <a:pt x="502920" y="379096"/>
                  <a:pt x="502920" y="370523"/>
                </a:cubicBezTo>
                <a:cubicBezTo>
                  <a:pt x="500063" y="379096"/>
                  <a:pt x="497205" y="387668"/>
                  <a:pt x="493395" y="396241"/>
                </a:cubicBezTo>
                <a:lnTo>
                  <a:pt x="484822" y="419101"/>
                </a:lnTo>
                <a:lnTo>
                  <a:pt x="475297" y="419101"/>
                </a:lnTo>
                <a:lnTo>
                  <a:pt x="467678" y="396241"/>
                </a:lnTo>
                <a:cubicBezTo>
                  <a:pt x="464820" y="387668"/>
                  <a:pt x="461010" y="380048"/>
                  <a:pt x="458153" y="371476"/>
                </a:cubicBezTo>
                <a:cubicBezTo>
                  <a:pt x="458153" y="380048"/>
                  <a:pt x="458153" y="388621"/>
                  <a:pt x="458153" y="397193"/>
                </a:cubicBezTo>
                <a:lnTo>
                  <a:pt x="458153" y="420053"/>
                </a:lnTo>
                <a:lnTo>
                  <a:pt x="445770" y="420053"/>
                </a:lnTo>
                <a:close/>
                <a:moveTo>
                  <a:pt x="1158240" y="355283"/>
                </a:moveTo>
                <a:lnTo>
                  <a:pt x="1208723" y="355283"/>
                </a:lnTo>
                <a:lnTo>
                  <a:pt x="1208723" y="366713"/>
                </a:lnTo>
                <a:lnTo>
                  <a:pt x="1189673" y="366713"/>
                </a:lnTo>
                <a:lnTo>
                  <a:pt x="1189673" y="419101"/>
                </a:lnTo>
                <a:lnTo>
                  <a:pt x="1176338" y="419101"/>
                </a:lnTo>
                <a:lnTo>
                  <a:pt x="1176338" y="366713"/>
                </a:lnTo>
                <a:lnTo>
                  <a:pt x="1158240" y="366713"/>
                </a:lnTo>
                <a:close/>
                <a:moveTo>
                  <a:pt x="1084897" y="355283"/>
                </a:moveTo>
                <a:lnTo>
                  <a:pt x="1099185" y="355283"/>
                </a:lnTo>
                <a:lnTo>
                  <a:pt x="1113472" y="377191"/>
                </a:lnTo>
                <a:cubicBezTo>
                  <a:pt x="1119187" y="384811"/>
                  <a:pt x="1122997" y="391478"/>
                  <a:pt x="1125855" y="397193"/>
                </a:cubicBezTo>
                <a:lnTo>
                  <a:pt x="1125855" y="355283"/>
                </a:lnTo>
                <a:lnTo>
                  <a:pt x="1138237" y="355283"/>
                </a:lnTo>
                <a:lnTo>
                  <a:pt x="1138237" y="419101"/>
                </a:lnTo>
                <a:lnTo>
                  <a:pt x="1126807" y="419101"/>
                </a:lnTo>
                <a:lnTo>
                  <a:pt x="1111567" y="395288"/>
                </a:lnTo>
                <a:cubicBezTo>
                  <a:pt x="1104900" y="385763"/>
                  <a:pt x="1101089" y="379096"/>
                  <a:pt x="1097280" y="373381"/>
                </a:cubicBezTo>
                <a:lnTo>
                  <a:pt x="1097280" y="419101"/>
                </a:lnTo>
                <a:lnTo>
                  <a:pt x="1084897" y="419101"/>
                </a:lnTo>
                <a:close/>
                <a:moveTo>
                  <a:pt x="1013460" y="355283"/>
                </a:moveTo>
                <a:lnTo>
                  <a:pt x="1057275" y="355283"/>
                </a:lnTo>
                <a:lnTo>
                  <a:pt x="1057275" y="366713"/>
                </a:lnTo>
                <a:lnTo>
                  <a:pt x="1026795" y="366713"/>
                </a:lnTo>
                <a:lnTo>
                  <a:pt x="1026795" y="381001"/>
                </a:lnTo>
                <a:lnTo>
                  <a:pt x="1054418" y="381001"/>
                </a:lnTo>
                <a:lnTo>
                  <a:pt x="1054418" y="392431"/>
                </a:lnTo>
                <a:lnTo>
                  <a:pt x="1026795" y="392431"/>
                </a:lnTo>
                <a:lnTo>
                  <a:pt x="1026795" y="407671"/>
                </a:lnTo>
                <a:lnTo>
                  <a:pt x="1058227" y="407671"/>
                </a:lnTo>
                <a:lnTo>
                  <a:pt x="1058227" y="419101"/>
                </a:lnTo>
                <a:lnTo>
                  <a:pt x="1013460" y="419101"/>
                </a:lnTo>
                <a:close/>
                <a:moveTo>
                  <a:pt x="845820" y="355283"/>
                </a:moveTo>
                <a:lnTo>
                  <a:pt x="889635" y="355283"/>
                </a:lnTo>
                <a:lnTo>
                  <a:pt x="889635" y="366713"/>
                </a:lnTo>
                <a:lnTo>
                  <a:pt x="859155" y="366713"/>
                </a:lnTo>
                <a:lnTo>
                  <a:pt x="859155" y="381001"/>
                </a:lnTo>
                <a:lnTo>
                  <a:pt x="886778" y="381001"/>
                </a:lnTo>
                <a:lnTo>
                  <a:pt x="886778" y="392431"/>
                </a:lnTo>
                <a:lnTo>
                  <a:pt x="859155" y="392431"/>
                </a:lnTo>
                <a:lnTo>
                  <a:pt x="859155" y="407671"/>
                </a:lnTo>
                <a:lnTo>
                  <a:pt x="890588" y="407671"/>
                </a:lnTo>
                <a:lnTo>
                  <a:pt x="890588" y="419101"/>
                </a:lnTo>
                <a:lnTo>
                  <a:pt x="845820" y="419101"/>
                </a:lnTo>
                <a:close/>
                <a:moveTo>
                  <a:pt x="713423" y="355283"/>
                </a:moveTo>
                <a:lnTo>
                  <a:pt x="729615" y="355283"/>
                </a:lnTo>
                <a:lnTo>
                  <a:pt x="753428" y="419101"/>
                </a:lnTo>
                <a:lnTo>
                  <a:pt x="739140" y="419101"/>
                </a:lnTo>
                <a:lnTo>
                  <a:pt x="734378" y="405766"/>
                </a:lnTo>
                <a:lnTo>
                  <a:pt x="707708" y="405766"/>
                </a:lnTo>
                <a:lnTo>
                  <a:pt x="702945" y="419101"/>
                </a:lnTo>
                <a:lnTo>
                  <a:pt x="689610" y="419101"/>
                </a:lnTo>
                <a:close/>
                <a:moveTo>
                  <a:pt x="617220" y="355283"/>
                </a:moveTo>
                <a:lnTo>
                  <a:pt x="631508" y="355283"/>
                </a:lnTo>
                <a:lnTo>
                  <a:pt x="645795" y="377191"/>
                </a:lnTo>
                <a:cubicBezTo>
                  <a:pt x="651510" y="384811"/>
                  <a:pt x="655320" y="391478"/>
                  <a:pt x="658178" y="397193"/>
                </a:cubicBezTo>
                <a:lnTo>
                  <a:pt x="658178" y="355283"/>
                </a:lnTo>
                <a:lnTo>
                  <a:pt x="670560" y="355283"/>
                </a:lnTo>
                <a:lnTo>
                  <a:pt x="670560" y="419101"/>
                </a:lnTo>
                <a:lnTo>
                  <a:pt x="659130" y="419101"/>
                </a:lnTo>
                <a:lnTo>
                  <a:pt x="643890" y="395288"/>
                </a:lnTo>
                <a:cubicBezTo>
                  <a:pt x="637222" y="385763"/>
                  <a:pt x="633413" y="379096"/>
                  <a:pt x="629603" y="373381"/>
                </a:cubicBezTo>
                <a:lnTo>
                  <a:pt x="629603" y="419101"/>
                </a:lnTo>
                <a:lnTo>
                  <a:pt x="617220" y="419101"/>
                </a:lnTo>
                <a:close/>
                <a:moveTo>
                  <a:pt x="559118" y="355283"/>
                </a:moveTo>
                <a:lnTo>
                  <a:pt x="575310" y="355283"/>
                </a:lnTo>
                <a:lnTo>
                  <a:pt x="599122" y="419101"/>
                </a:lnTo>
                <a:lnTo>
                  <a:pt x="584835" y="419101"/>
                </a:lnTo>
                <a:lnTo>
                  <a:pt x="580072" y="405766"/>
                </a:lnTo>
                <a:lnTo>
                  <a:pt x="553403" y="405766"/>
                </a:lnTo>
                <a:lnTo>
                  <a:pt x="548640" y="419101"/>
                </a:lnTo>
                <a:lnTo>
                  <a:pt x="535305" y="419101"/>
                </a:lnTo>
                <a:close/>
                <a:moveTo>
                  <a:pt x="338137" y="355283"/>
                </a:moveTo>
                <a:lnTo>
                  <a:pt x="388619" y="355283"/>
                </a:lnTo>
                <a:lnTo>
                  <a:pt x="388619" y="366713"/>
                </a:lnTo>
                <a:lnTo>
                  <a:pt x="369569" y="366713"/>
                </a:lnTo>
                <a:lnTo>
                  <a:pt x="369569" y="419101"/>
                </a:lnTo>
                <a:lnTo>
                  <a:pt x="356234" y="419101"/>
                </a:lnTo>
                <a:lnTo>
                  <a:pt x="356234" y="366713"/>
                </a:lnTo>
                <a:lnTo>
                  <a:pt x="338137" y="366713"/>
                </a:lnTo>
                <a:close/>
                <a:moveTo>
                  <a:pt x="274320" y="355283"/>
                </a:moveTo>
                <a:lnTo>
                  <a:pt x="318135" y="355283"/>
                </a:lnTo>
                <a:lnTo>
                  <a:pt x="318135" y="366713"/>
                </a:lnTo>
                <a:lnTo>
                  <a:pt x="287655" y="366713"/>
                </a:lnTo>
                <a:lnTo>
                  <a:pt x="287655" y="381001"/>
                </a:lnTo>
                <a:lnTo>
                  <a:pt x="315278" y="381001"/>
                </a:lnTo>
                <a:lnTo>
                  <a:pt x="315278" y="392431"/>
                </a:lnTo>
                <a:lnTo>
                  <a:pt x="287655" y="392431"/>
                </a:lnTo>
                <a:lnTo>
                  <a:pt x="287655" y="407671"/>
                </a:lnTo>
                <a:lnTo>
                  <a:pt x="319088" y="407671"/>
                </a:lnTo>
                <a:lnTo>
                  <a:pt x="319088" y="419101"/>
                </a:lnTo>
                <a:lnTo>
                  <a:pt x="274320" y="419101"/>
                </a:lnTo>
                <a:close/>
                <a:moveTo>
                  <a:pt x="92393" y="355283"/>
                </a:moveTo>
                <a:lnTo>
                  <a:pt x="108585" y="355283"/>
                </a:lnTo>
                <a:lnTo>
                  <a:pt x="132398" y="419101"/>
                </a:lnTo>
                <a:lnTo>
                  <a:pt x="118110" y="419101"/>
                </a:lnTo>
                <a:lnTo>
                  <a:pt x="113348" y="405766"/>
                </a:lnTo>
                <a:lnTo>
                  <a:pt x="86678" y="405766"/>
                </a:lnTo>
                <a:lnTo>
                  <a:pt x="81915" y="419101"/>
                </a:lnTo>
                <a:lnTo>
                  <a:pt x="68580" y="419101"/>
                </a:lnTo>
                <a:close/>
                <a:moveTo>
                  <a:pt x="797242" y="354330"/>
                </a:moveTo>
                <a:cubicBezTo>
                  <a:pt x="805815" y="354330"/>
                  <a:pt x="813434" y="357188"/>
                  <a:pt x="818197" y="360998"/>
                </a:cubicBezTo>
                <a:lnTo>
                  <a:pt x="810577" y="370523"/>
                </a:lnTo>
                <a:cubicBezTo>
                  <a:pt x="807720" y="367665"/>
                  <a:pt x="802957" y="365760"/>
                  <a:pt x="796290" y="365760"/>
                </a:cubicBezTo>
                <a:cubicBezTo>
                  <a:pt x="782955" y="365760"/>
                  <a:pt x="778192" y="376238"/>
                  <a:pt x="778192" y="386715"/>
                </a:cubicBezTo>
                <a:cubicBezTo>
                  <a:pt x="778192" y="397193"/>
                  <a:pt x="782002" y="408623"/>
                  <a:pt x="796290" y="408623"/>
                </a:cubicBezTo>
                <a:cubicBezTo>
                  <a:pt x="801052" y="408623"/>
                  <a:pt x="803909" y="407670"/>
                  <a:pt x="806767" y="405765"/>
                </a:cubicBezTo>
                <a:lnTo>
                  <a:pt x="806767" y="393382"/>
                </a:lnTo>
                <a:lnTo>
                  <a:pt x="792480" y="393382"/>
                </a:lnTo>
                <a:lnTo>
                  <a:pt x="792480" y="381953"/>
                </a:lnTo>
                <a:lnTo>
                  <a:pt x="820102" y="381953"/>
                </a:lnTo>
                <a:lnTo>
                  <a:pt x="820102" y="382905"/>
                </a:lnTo>
                <a:lnTo>
                  <a:pt x="820102" y="411480"/>
                </a:lnTo>
                <a:cubicBezTo>
                  <a:pt x="815340" y="417195"/>
                  <a:pt x="806767" y="421005"/>
                  <a:pt x="796290" y="421005"/>
                </a:cubicBezTo>
                <a:cubicBezTo>
                  <a:pt x="777240" y="421005"/>
                  <a:pt x="764857" y="409575"/>
                  <a:pt x="764857" y="387668"/>
                </a:cubicBezTo>
                <a:cubicBezTo>
                  <a:pt x="764857" y="365760"/>
                  <a:pt x="778192" y="354330"/>
                  <a:pt x="797242" y="354330"/>
                </a:cubicBezTo>
                <a:close/>
                <a:moveTo>
                  <a:pt x="232411" y="354330"/>
                </a:moveTo>
                <a:cubicBezTo>
                  <a:pt x="241936" y="354330"/>
                  <a:pt x="249556" y="357188"/>
                  <a:pt x="253366" y="360998"/>
                </a:cubicBezTo>
                <a:lnTo>
                  <a:pt x="246698" y="370523"/>
                </a:lnTo>
                <a:cubicBezTo>
                  <a:pt x="242888" y="366713"/>
                  <a:pt x="237173" y="365760"/>
                  <a:pt x="231458" y="365760"/>
                </a:cubicBezTo>
                <a:cubicBezTo>
                  <a:pt x="224791" y="365760"/>
                  <a:pt x="220981" y="368618"/>
                  <a:pt x="220981" y="372428"/>
                </a:cubicBezTo>
                <a:cubicBezTo>
                  <a:pt x="220981" y="376238"/>
                  <a:pt x="224791" y="378143"/>
                  <a:pt x="234316" y="381000"/>
                </a:cubicBezTo>
                <a:cubicBezTo>
                  <a:pt x="247650" y="384810"/>
                  <a:pt x="254318" y="390525"/>
                  <a:pt x="254318" y="400050"/>
                </a:cubicBezTo>
                <a:cubicBezTo>
                  <a:pt x="254318" y="411480"/>
                  <a:pt x="245745" y="420053"/>
                  <a:pt x="230506" y="420053"/>
                </a:cubicBezTo>
                <a:cubicBezTo>
                  <a:pt x="220981" y="420053"/>
                  <a:pt x="211456" y="416243"/>
                  <a:pt x="206693" y="411480"/>
                </a:cubicBezTo>
                <a:lnTo>
                  <a:pt x="213361" y="401955"/>
                </a:lnTo>
                <a:cubicBezTo>
                  <a:pt x="216218" y="404813"/>
                  <a:pt x="222886" y="408623"/>
                  <a:pt x="231458" y="408623"/>
                </a:cubicBezTo>
                <a:cubicBezTo>
                  <a:pt x="238125" y="408623"/>
                  <a:pt x="241936" y="406718"/>
                  <a:pt x="241936" y="401003"/>
                </a:cubicBezTo>
                <a:cubicBezTo>
                  <a:pt x="241936" y="396240"/>
                  <a:pt x="237173" y="394335"/>
                  <a:pt x="229553" y="392430"/>
                </a:cubicBezTo>
                <a:cubicBezTo>
                  <a:pt x="215266" y="388620"/>
                  <a:pt x="208598" y="383857"/>
                  <a:pt x="208598" y="373380"/>
                </a:cubicBezTo>
                <a:cubicBezTo>
                  <a:pt x="208598" y="362903"/>
                  <a:pt x="216218" y="354330"/>
                  <a:pt x="232411" y="354330"/>
                </a:cubicBezTo>
                <a:close/>
                <a:moveTo>
                  <a:pt x="169545" y="354330"/>
                </a:moveTo>
                <a:cubicBezTo>
                  <a:pt x="179070" y="354330"/>
                  <a:pt x="186691" y="357188"/>
                  <a:pt x="190500" y="360998"/>
                </a:cubicBezTo>
                <a:lnTo>
                  <a:pt x="183833" y="370523"/>
                </a:lnTo>
                <a:cubicBezTo>
                  <a:pt x="180023" y="366713"/>
                  <a:pt x="174308" y="365760"/>
                  <a:pt x="168593" y="365760"/>
                </a:cubicBezTo>
                <a:cubicBezTo>
                  <a:pt x="161925" y="365760"/>
                  <a:pt x="158116" y="368618"/>
                  <a:pt x="158116" y="372428"/>
                </a:cubicBezTo>
                <a:cubicBezTo>
                  <a:pt x="158116" y="376238"/>
                  <a:pt x="161925" y="378143"/>
                  <a:pt x="171450" y="381000"/>
                </a:cubicBezTo>
                <a:cubicBezTo>
                  <a:pt x="184785" y="384810"/>
                  <a:pt x="191453" y="390525"/>
                  <a:pt x="191453" y="400050"/>
                </a:cubicBezTo>
                <a:cubicBezTo>
                  <a:pt x="191453" y="411480"/>
                  <a:pt x="182880" y="420053"/>
                  <a:pt x="167641" y="420053"/>
                </a:cubicBezTo>
                <a:cubicBezTo>
                  <a:pt x="158116" y="420053"/>
                  <a:pt x="148591" y="416243"/>
                  <a:pt x="143828" y="411480"/>
                </a:cubicBezTo>
                <a:lnTo>
                  <a:pt x="150495" y="401955"/>
                </a:lnTo>
                <a:cubicBezTo>
                  <a:pt x="153353" y="404813"/>
                  <a:pt x="160020" y="408623"/>
                  <a:pt x="168593" y="408623"/>
                </a:cubicBezTo>
                <a:cubicBezTo>
                  <a:pt x="175260" y="408623"/>
                  <a:pt x="179070" y="406718"/>
                  <a:pt x="179070" y="401003"/>
                </a:cubicBezTo>
                <a:cubicBezTo>
                  <a:pt x="179070" y="396240"/>
                  <a:pt x="174308" y="394335"/>
                  <a:pt x="166688" y="392430"/>
                </a:cubicBezTo>
                <a:cubicBezTo>
                  <a:pt x="152400" y="388620"/>
                  <a:pt x="145733" y="383857"/>
                  <a:pt x="145733" y="373380"/>
                </a:cubicBezTo>
                <a:cubicBezTo>
                  <a:pt x="145733" y="362903"/>
                  <a:pt x="153353" y="354330"/>
                  <a:pt x="169545" y="354330"/>
                </a:cubicBezTo>
                <a:close/>
                <a:moveTo>
                  <a:pt x="367665" y="101918"/>
                </a:moveTo>
                <a:cubicBezTo>
                  <a:pt x="334328" y="101918"/>
                  <a:pt x="306705" y="129541"/>
                  <a:pt x="306705" y="162878"/>
                </a:cubicBezTo>
                <a:cubicBezTo>
                  <a:pt x="306705" y="196216"/>
                  <a:pt x="334328" y="223838"/>
                  <a:pt x="367665" y="223838"/>
                </a:cubicBezTo>
                <a:cubicBezTo>
                  <a:pt x="401003" y="223838"/>
                  <a:pt x="428625" y="197168"/>
                  <a:pt x="428625" y="162878"/>
                </a:cubicBezTo>
                <a:cubicBezTo>
                  <a:pt x="428625" y="129541"/>
                  <a:pt x="401003" y="101918"/>
                  <a:pt x="367665" y="101918"/>
                </a:cubicBezTo>
                <a:close/>
                <a:moveTo>
                  <a:pt x="1190625" y="100966"/>
                </a:moveTo>
                <a:cubicBezTo>
                  <a:pt x="1154430" y="100966"/>
                  <a:pt x="1125855" y="132398"/>
                  <a:pt x="1129665" y="169546"/>
                </a:cubicBezTo>
                <a:cubicBezTo>
                  <a:pt x="1133475" y="197168"/>
                  <a:pt x="1155382" y="219076"/>
                  <a:pt x="1183005" y="222886"/>
                </a:cubicBezTo>
                <a:cubicBezTo>
                  <a:pt x="1219200" y="227648"/>
                  <a:pt x="1249680" y="200978"/>
                  <a:pt x="1251585" y="165736"/>
                </a:cubicBezTo>
                <a:lnTo>
                  <a:pt x="1251585" y="159068"/>
                </a:lnTo>
                <a:cubicBezTo>
                  <a:pt x="1249680" y="126683"/>
                  <a:pt x="1223010" y="100966"/>
                  <a:pt x="1190625" y="100966"/>
                </a:cubicBezTo>
                <a:close/>
                <a:moveTo>
                  <a:pt x="718185" y="100965"/>
                </a:moveTo>
                <a:cubicBezTo>
                  <a:pt x="681990" y="100965"/>
                  <a:pt x="653415" y="132398"/>
                  <a:pt x="657225" y="169545"/>
                </a:cubicBezTo>
                <a:cubicBezTo>
                  <a:pt x="661035" y="197167"/>
                  <a:pt x="682943" y="219075"/>
                  <a:pt x="710565" y="222885"/>
                </a:cubicBezTo>
                <a:cubicBezTo>
                  <a:pt x="746760" y="227648"/>
                  <a:pt x="777240" y="200978"/>
                  <a:pt x="779145" y="165735"/>
                </a:cubicBezTo>
                <a:cubicBezTo>
                  <a:pt x="779145" y="165735"/>
                  <a:pt x="779145" y="159067"/>
                  <a:pt x="779145" y="159067"/>
                </a:cubicBezTo>
                <a:cubicBezTo>
                  <a:pt x="777240" y="126683"/>
                  <a:pt x="750570" y="100965"/>
                  <a:pt x="718185" y="100965"/>
                </a:cubicBezTo>
                <a:close/>
                <a:moveTo>
                  <a:pt x="962546" y="96694"/>
                </a:moveTo>
                <a:cubicBezTo>
                  <a:pt x="955119" y="96560"/>
                  <a:pt x="947261" y="97870"/>
                  <a:pt x="939165" y="100966"/>
                </a:cubicBezTo>
                <a:cubicBezTo>
                  <a:pt x="910590" y="111443"/>
                  <a:pt x="897255" y="137161"/>
                  <a:pt x="897255" y="159068"/>
                </a:cubicBezTo>
                <a:lnTo>
                  <a:pt x="1012508" y="127636"/>
                </a:lnTo>
                <a:cubicBezTo>
                  <a:pt x="1003221" y="110491"/>
                  <a:pt x="984825" y="97096"/>
                  <a:pt x="962546" y="96694"/>
                </a:cubicBezTo>
                <a:close/>
                <a:moveTo>
                  <a:pt x="1182052" y="57151"/>
                </a:moveTo>
                <a:cubicBezTo>
                  <a:pt x="1243012" y="52388"/>
                  <a:pt x="1296352" y="99061"/>
                  <a:pt x="1296352" y="165736"/>
                </a:cubicBezTo>
                <a:lnTo>
                  <a:pt x="1296352" y="266701"/>
                </a:lnTo>
                <a:lnTo>
                  <a:pt x="1255395" y="266701"/>
                </a:lnTo>
                <a:lnTo>
                  <a:pt x="1255395" y="235268"/>
                </a:lnTo>
                <a:cubicBezTo>
                  <a:pt x="1241107" y="258128"/>
                  <a:pt x="1211580" y="269558"/>
                  <a:pt x="1189672" y="269558"/>
                </a:cubicBezTo>
                <a:cubicBezTo>
                  <a:pt x="1128712" y="269558"/>
                  <a:pt x="1080135" y="218123"/>
                  <a:pt x="1083945" y="156211"/>
                </a:cubicBezTo>
                <a:cubicBezTo>
                  <a:pt x="1087755" y="103823"/>
                  <a:pt x="1129665" y="60961"/>
                  <a:pt x="1182052" y="57151"/>
                </a:cubicBezTo>
                <a:close/>
                <a:moveTo>
                  <a:pt x="957263" y="57151"/>
                </a:moveTo>
                <a:cubicBezTo>
                  <a:pt x="1023938" y="55246"/>
                  <a:pt x="1060133" y="110491"/>
                  <a:pt x="1065847" y="152401"/>
                </a:cubicBezTo>
                <a:lnTo>
                  <a:pt x="906780" y="196216"/>
                </a:lnTo>
                <a:cubicBezTo>
                  <a:pt x="917257" y="215266"/>
                  <a:pt x="943928" y="233363"/>
                  <a:pt x="972502" y="227648"/>
                </a:cubicBezTo>
                <a:cubicBezTo>
                  <a:pt x="992505" y="223838"/>
                  <a:pt x="1010602" y="209551"/>
                  <a:pt x="1018222" y="192406"/>
                </a:cubicBezTo>
                <a:lnTo>
                  <a:pt x="1059180" y="204788"/>
                </a:lnTo>
                <a:cubicBezTo>
                  <a:pt x="1042988" y="245746"/>
                  <a:pt x="1002030" y="270511"/>
                  <a:pt x="960120" y="270511"/>
                </a:cubicBezTo>
                <a:cubicBezTo>
                  <a:pt x="900113" y="270511"/>
                  <a:pt x="853440" y="221933"/>
                  <a:pt x="853440" y="164783"/>
                </a:cubicBezTo>
                <a:cubicBezTo>
                  <a:pt x="853440" y="101918"/>
                  <a:pt x="901065" y="59056"/>
                  <a:pt x="957263" y="57151"/>
                </a:cubicBezTo>
                <a:close/>
                <a:moveTo>
                  <a:pt x="606742" y="56198"/>
                </a:moveTo>
                <a:lnTo>
                  <a:pt x="606742" y="100013"/>
                </a:lnTo>
                <a:cubicBezTo>
                  <a:pt x="575310" y="101918"/>
                  <a:pt x="547688" y="120016"/>
                  <a:pt x="547688" y="165736"/>
                </a:cubicBezTo>
                <a:cubicBezTo>
                  <a:pt x="547688" y="203836"/>
                  <a:pt x="547688" y="202883"/>
                  <a:pt x="547688" y="265748"/>
                </a:cubicBezTo>
                <a:lnTo>
                  <a:pt x="501015" y="265748"/>
                </a:lnTo>
                <a:lnTo>
                  <a:pt x="501015" y="160021"/>
                </a:lnTo>
                <a:lnTo>
                  <a:pt x="501015" y="62866"/>
                </a:lnTo>
                <a:lnTo>
                  <a:pt x="546735" y="62866"/>
                </a:lnTo>
                <a:lnTo>
                  <a:pt x="546735" y="86678"/>
                </a:lnTo>
                <a:cubicBezTo>
                  <a:pt x="553403" y="76201"/>
                  <a:pt x="566738" y="56198"/>
                  <a:pt x="606742" y="56198"/>
                </a:cubicBezTo>
                <a:close/>
                <a:moveTo>
                  <a:pt x="367665" y="56198"/>
                </a:moveTo>
                <a:cubicBezTo>
                  <a:pt x="425768" y="56198"/>
                  <a:pt x="473393" y="103823"/>
                  <a:pt x="474345" y="162878"/>
                </a:cubicBezTo>
                <a:cubicBezTo>
                  <a:pt x="474345" y="221933"/>
                  <a:pt x="426720" y="269558"/>
                  <a:pt x="367665" y="269558"/>
                </a:cubicBezTo>
                <a:cubicBezTo>
                  <a:pt x="308610" y="269558"/>
                  <a:pt x="260985" y="221933"/>
                  <a:pt x="260985" y="162878"/>
                </a:cubicBezTo>
                <a:cubicBezTo>
                  <a:pt x="260985" y="103823"/>
                  <a:pt x="308610" y="56198"/>
                  <a:pt x="367665" y="56198"/>
                </a:cubicBezTo>
                <a:close/>
                <a:moveTo>
                  <a:pt x="0" y="20956"/>
                </a:moveTo>
                <a:lnTo>
                  <a:pt x="47625" y="20956"/>
                </a:lnTo>
                <a:lnTo>
                  <a:pt x="186690" y="184786"/>
                </a:lnTo>
                <a:lnTo>
                  <a:pt x="186690" y="20956"/>
                </a:lnTo>
                <a:lnTo>
                  <a:pt x="233363" y="20956"/>
                </a:lnTo>
                <a:lnTo>
                  <a:pt x="233363" y="266701"/>
                </a:lnTo>
                <a:lnTo>
                  <a:pt x="190500" y="266701"/>
                </a:lnTo>
                <a:lnTo>
                  <a:pt x="49530" y="101918"/>
                </a:lnTo>
                <a:lnTo>
                  <a:pt x="49530" y="265748"/>
                </a:lnTo>
                <a:lnTo>
                  <a:pt x="0" y="265748"/>
                </a:lnTo>
                <a:close/>
                <a:moveTo>
                  <a:pt x="781050" y="0"/>
                </a:moveTo>
                <a:lnTo>
                  <a:pt x="824865" y="0"/>
                </a:lnTo>
                <a:lnTo>
                  <a:pt x="824865" y="160973"/>
                </a:lnTo>
                <a:cubicBezTo>
                  <a:pt x="824865" y="161925"/>
                  <a:pt x="824865" y="161925"/>
                  <a:pt x="824865" y="162878"/>
                </a:cubicBezTo>
                <a:cubicBezTo>
                  <a:pt x="824865" y="163830"/>
                  <a:pt x="824865" y="163830"/>
                  <a:pt x="824865" y="164783"/>
                </a:cubicBezTo>
                <a:lnTo>
                  <a:pt x="824865" y="267653"/>
                </a:lnTo>
                <a:lnTo>
                  <a:pt x="783908" y="267653"/>
                </a:lnTo>
                <a:lnTo>
                  <a:pt x="783908" y="240030"/>
                </a:lnTo>
                <a:cubicBezTo>
                  <a:pt x="772478" y="260033"/>
                  <a:pt x="741045" y="270510"/>
                  <a:pt x="718185" y="270510"/>
                </a:cubicBezTo>
                <a:cubicBezTo>
                  <a:pt x="657225" y="270510"/>
                  <a:pt x="608648" y="219075"/>
                  <a:pt x="612458" y="157163"/>
                </a:cubicBezTo>
                <a:cubicBezTo>
                  <a:pt x="616268" y="104775"/>
                  <a:pt x="658178" y="61913"/>
                  <a:pt x="710565" y="58103"/>
                </a:cubicBezTo>
                <a:cubicBezTo>
                  <a:pt x="738188" y="55245"/>
                  <a:pt x="770573" y="66675"/>
                  <a:pt x="781050" y="80010"/>
                </a:cubicBezTo>
                <a:close/>
              </a:path>
            </a:pathLst>
          </a:custGeom>
          <a:solidFill>
            <a:srgbClr val="FFFF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8243811"/>
      </p:ext>
    </p:extLst>
  </p:cSld>
  <p:clrMapOvr>
    <a:masterClrMapping/>
  </p:clrMapOvr>
  <p:hf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7EAF30B-C6FE-419F-9DDD-2F7C8F7496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7EAF30B-C6FE-419F-9DDD-2F7C8F7496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1" y="360083"/>
            <a:ext cx="7200000" cy="720167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8001" y="1332001"/>
            <a:ext cx="5364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2000" y="1332001"/>
            <a:ext cx="5364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5420554"/>
      </p:ext>
    </p:extLst>
  </p:cSld>
  <p:clrMapOvr>
    <a:masterClrMapping/>
  </p:clrMapOvr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A4EE704-CBAE-40D3-99B9-2F6866CE58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A4EE704-CBAE-40D3-99B9-2F6866CE58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1" y="360083"/>
            <a:ext cx="7200000" cy="720167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8000" y="1332001"/>
            <a:ext cx="3492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59601" y="1332001"/>
            <a:ext cx="3492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6" name="Content Placeholder 3"/>
          <p:cNvSpPr>
            <a:spLocks noGrp="1"/>
          </p:cNvSpPr>
          <p:nvPr>
            <p:ph sz="half" idx="13"/>
          </p:nvPr>
        </p:nvSpPr>
        <p:spPr>
          <a:xfrm>
            <a:off x="8067601" y="1332001"/>
            <a:ext cx="3492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7113466"/>
      </p:ext>
    </p:extLst>
  </p:cSld>
  <p:clrMapOvr>
    <a:masterClrMapping/>
  </p:clrMapOvr>
  <p:hf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01AC24A-6007-4B76-A5C1-8CC8F1FCCE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01AC24A-6007-4B76-A5C1-8CC8F1FCCE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1" y="360083"/>
            <a:ext cx="7200000" cy="720167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90776427"/>
      </p:ext>
    </p:extLst>
  </p:cSld>
  <p:clrMapOvr>
    <a:masterClrMapping/>
  </p:clrMapOvr>
  <p:hf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45628213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1A3C16D-C06E-450C-B5DA-7A45EA7F67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1A3C16D-C06E-450C-B5DA-7A45EA7F67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1" y="360083"/>
            <a:ext cx="7200000" cy="720167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2000" y="1332000"/>
            <a:ext cx="5364000" cy="44316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48001" y="1332001"/>
            <a:ext cx="5364000" cy="442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Pictur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6038794"/>
      </p:ext>
    </p:extLst>
  </p:cSld>
  <p:clrMapOvr>
    <a:masterClrMapping/>
  </p:clrMapOvr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CBE3B95-736E-483D-A653-F3B2C00695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CBE3B95-736E-483D-A653-F3B2C00695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60083"/>
            <a:ext cx="8064000" cy="720167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8001" y="1332001"/>
            <a:ext cx="5364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192000" y="1332001"/>
            <a:ext cx="5364000" cy="442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Pictur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22324396"/>
      </p:ext>
    </p:extLst>
  </p:cSld>
  <p:clrMapOvr>
    <a:masterClrMapping/>
  </p:clrMapOvr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F7D95EF-9A2C-40BF-AAE0-793234876F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F7D95EF-9A2C-40BF-AAE0-793234876F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60083"/>
            <a:ext cx="8064000" cy="720167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8000" y="1332001"/>
            <a:ext cx="3492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8067601" y="1332000"/>
            <a:ext cx="3492000" cy="2124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Pictur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5"/>
          </p:nvPr>
        </p:nvSpPr>
        <p:spPr>
          <a:xfrm>
            <a:off x="4359601" y="1332001"/>
            <a:ext cx="3492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6" hasCustomPrompt="1"/>
          </p:nvPr>
        </p:nvSpPr>
        <p:spPr>
          <a:xfrm>
            <a:off x="8067601" y="3636000"/>
            <a:ext cx="3492000" cy="2124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Pictur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96853734"/>
      </p:ext>
    </p:extLst>
  </p:cSld>
  <p:clrMapOvr>
    <a:masterClrMapping/>
  </p:clrMapOvr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A31FF3E-3061-4CE9-B026-F21D03D00F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A31FF3E-3061-4CE9-B026-F21D03D00F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48000" y="1980001"/>
            <a:ext cx="10908000" cy="3780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96600" y="397565"/>
            <a:ext cx="7200000" cy="943998"/>
          </a:xfrm>
        </p:spPr>
        <p:txBody>
          <a:bodyPr vert="horz">
            <a:noAutofit/>
          </a:bodyPr>
          <a:lstStyle>
            <a:lvl1pPr algn="ctr">
              <a:defRPr sz="30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2496600" y="1485579"/>
            <a:ext cx="7200000" cy="360446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b="1">
                <a:solidFill>
                  <a:srgbClr val="8B8A8D"/>
                </a:solidFill>
              </a:defRPr>
            </a:lvl1pPr>
            <a:lvl2pPr marL="257165" indent="0">
              <a:buFontTx/>
              <a:buNone/>
              <a:defRPr b="1">
                <a:solidFill>
                  <a:schemeClr val="accent4"/>
                </a:solidFill>
              </a:defRPr>
            </a:lvl2pPr>
            <a:lvl3pPr marL="514331" indent="0">
              <a:buFontTx/>
              <a:buNone/>
              <a:defRPr b="1">
                <a:solidFill>
                  <a:schemeClr val="accent4"/>
                </a:solidFill>
              </a:defRPr>
            </a:lvl3pPr>
            <a:lvl4pPr marL="771497" indent="0">
              <a:buFontTx/>
              <a:buNone/>
              <a:defRPr b="1">
                <a:solidFill>
                  <a:schemeClr val="accent4"/>
                </a:solidFill>
              </a:defRPr>
            </a:lvl4pPr>
            <a:lvl5pPr marL="1028662" indent="0">
              <a:buFontTx/>
              <a:buNone/>
              <a:defRPr b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GB"/>
              <a:t>Click to add sub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65285414"/>
      </p:ext>
    </p:extLst>
  </p:cSld>
  <p:clrMapOvr>
    <a:masterClrMapping/>
  </p:clrMapOvr>
  <p:hf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E98B58E-0E95-4E82-9C08-23A34C1103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E98B58E-0E95-4E82-9C08-23A34C1103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96600" y="397565"/>
            <a:ext cx="7200000" cy="943998"/>
          </a:xfrm>
        </p:spPr>
        <p:txBody>
          <a:bodyPr vert="horz">
            <a:noAutofit/>
          </a:bodyPr>
          <a:lstStyle>
            <a:lvl1pPr algn="ctr">
              <a:defRPr sz="3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2496600" y="1485579"/>
            <a:ext cx="7200000" cy="360446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b="1">
                <a:solidFill>
                  <a:srgbClr val="8B8A8D"/>
                </a:solidFill>
              </a:defRPr>
            </a:lvl1pPr>
            <a:lvl2pPr marL="257165" indent="0">
              <a:buFontTx/>
              <a:buNone/>
              <a:defRPr b="1">
                <a:solidFill>
                  <a:schemeClr val="accent4"/>
                </a:solidFill>
              </a:defRPr>
            </a:lvl2pPr>
            <a:lvl3pPr marL="514331" indent="0">
              <a:buFontTx/>
              <a:buNone/>
              <a:defRPr b="1">
                <a:solidFill>
                  <a:schemeClr val="accent4"/>
                </a:solidFill>
              </a:defRPr>
            </a:lvl3pPr>
            <a:lvl4pPr marL="771497" indent="0">
              <a:buFontTx/>
              <a:buNone/>
              <a:defRPr b="1">
                <a:solidFill>
                  <a:schemeClr val="accent4"/>
                </a:solidFill>
              </a:defRPr>
            </a:lvl4pPr>
            <a:lvl5pPr marL="1028662" indent="0">
              <a:buFontTx/>
              <a:buNone/>
              <a:defRPr b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GB"/>
              <a:t>Click to add subtitle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2407371" y="1989634"/>
            <a:ext cx="1746000" cy="1980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Picture</a:t>
            </a:r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4368801" y="1989634"/>
            <a:ext cx="3489325" cy="3024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Picture</a:t>
            </a:r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6" hasCustomPrompt="1"/>
          </p:nvPr>
        </p:nvSpPr>
        <p:spPr>
          <a:xfrm>
            <a:off x="8064000" y="1989634"/>
            <a:ext cx="2556000" cy="1980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Picture</a:t>
            </a:r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7" hasCustomPrompt="1"/>
          </p:nvPr>
        </p:nvSpPr>
        <p:spPr>
          <a:xfrm>
            <a:off x="8064001" y="4149874"/>
            <a:ext cx="1692000" cy="1332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Pictur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6878621"/>
      </p:ext>
    </p:extLst>
  </p:cSld>
  <p:clrMapOvr>
    <a:masterClrMapping/>
  </p:clrMapOvr>
  <p:hf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and Heading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8B65CAA-4762-431A-B2E2-8A39160545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8B65CAA-4762-431A-B2E2-8A39160545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5175" cy="6859588"/>
          </a:xfrm>
          <a:noFill/>
        </p:spPr>
        <p:txBody>
          <a:bodyPr anchor="ctr" anchorCtr="0"/>
          <a:lstStyle>
            <a:lvl1pPr marL="0" indent="0" algn="ctr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Insert picture by using Nordea Image Bank butt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1" y="333450"/>
            <a:ext cx="7200000" cy="1009078"/>
          </a:xfrm>
        </p:spPr>
        <p:txBody>
          <a:bodyPr vert="horz">
            <a:noAutofit/>
          </a:bodyPr>
          <a:lstStyle>
            <a:lvl1pPr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1" y="1510482"/>
            <a:ext cx="7200000" cy="685243"/>
          </a:xfrm>
        </p:spPr>
        <p:txBody>
          <a:bodyPr>
            <a:noAutofit/>
          </a:bodyPr>
          <a:lstStyle>
            <a:lvl1pPr marL="0" indent="0" algn="l">
              <a:buNone/>
              <a:defRPr b="1">
                <a:solidFill>
                  <a:schemeClr val="tx2"/>
                </a:solidFill>
              </a:defRPr>
            </a:lvl1pPr>
            <a:lvl2pPr marL="544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3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46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29" name="Line"/>
          <p:cNvCxnSpPr/>
          <p:nvPr userDrawn="1"/>
        </p:nvCxnSpPr>
        <p:spPr>
          <a:xfrm>
            <a:off x="648000" y="6318000"/>
            <a:ext cx="10893600" cy="0"/>
          </a:xfrm>
          <a:prstGeom prst="line">
            <a:avLst/>
          </a:prstGeom>
          <a:ln w="9525">
            <a:solidFill>
              <a:srgbClr val="8B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Logotype"/>
          <p:cNvGrpSpPr/>
          <p:nvPr userDrawn="1"/>
        </p:nvGrpSpPr>
        <p:grpSpPr>
          <a:xfrm>
            <a:off x="10689466" y="6389301"/>
            <a:ext cx="863687" cy="180102"/>
            <a:chOff x="9501453" y="6148765"/>
            <a:chExt cx="2047875" cy="427037"/>
          </a:xfrm>
        </p:grpSpPr>
        <p:sp>
          <p:nvSpPr>
            <p:cNvPr id="16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17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18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19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0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1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</p:spTree>
    <p:extLst>
      <p:ext uri="{BB962C8B-B14F-4D97-AF65-F5344CB8AC3E}">
        <p14:creationId xmlns:p14="http://schemas.microsoft.com/office/powerpoint/2010/main" val="2761783029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4959540"/>
            <a:ext cx="7200000" cy="617921"/>
          </a:xfrm>
        </p:spPr>
        <p:txBody>
          <a:bodyPr>
            <a:noAutofit/>
          </a:bodyPr>
          <a:lstStyle>
            <a:lvl1pPr>
              <a:defRPr sz="2400">
                <a:solidFill>
                  <a:srgbClr val="FBD9CA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5602855"/>
            <a:ext cx="7200000" cy="360083"/>
          </a:xfrm>
        </p:spPr>
        <p:txBody>
          <a:bodyPr>
            <a:noAutofit/>
          </a:bodyPr>
          <a:lstStyle>
            <a:lvl1pPr marL="0" indent="0" algn="l">
              <a:buNone/>
              <a:defRPr b="1">
                <a:solidFill>
                  <a:schemeClr val="bg1"/>
                </a:solidFill>
                <a:latin typeface="+mj-lt"/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080977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6332977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39" name="Picture Placeholder 38">
            <a:extLst>
              <a:ext uri="{FF2B5EF4-FFF2-40B4-BE49-F238E27FC236}">
                <a16:creationId xmlns:a16="http://schemas.microsoft.com/office/drawing/2014/main" id="{F7168929-C546-6900-44DB-CE0B16A737F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-1" y="-1"/>
            <a:ext cx="12204000" cy="4911479"/>
          </a:xfrm>
          <a:custGeom>
            <a:avLst/>
            <a:gdLst>
              <a:gd name="connsiteX0" fmla="*/ 9926607 w 12204000"/>
              <a:gd name="connsiteY0" fmla="*/ 3747694 h 4911479"/>
              <a:gd name="connsiteX1" fmla="*/ 9822564 w 12204000"/>
              <a:gd name="connsiteY1" fmla="*/ 3851991 h 4911479"/>
              <a:gd name="connsiteX2" fmla="*/ 9822564 w 12204000"/>
              <a:gd name="connsiteY2" fmla="*/ 3993537 h 4911479"/>
              <a:gd name="connsiteX3" fmla="*/ 9926607 w 12204000"/>
              <a:gd name="connsiteY3" fmla="*/ 4100317 h 4911479"/>
              <a:gd name="connsiteX4" fmla="*/ 10030649 w 12204000"/>
              <a:gd name="connsiteY4" fmla="*/ 3993537 h 4911479"/>
              <a:gd name="connsiteX5" fmla="*/ 10030649 w 12204000"/>
              <a:gd name="connsiteY5" fmla="*/ 3851991 h 4911479"/>
              <a:gd name="connsiteX6" fmla="*/ 9926607 w 12204000"/>
              <a:gd name="connsiteY6" fmla="*/ 3747694 h 4911479"/>
              <a:gd name="connsiteX7" fmla="*/ 10347760 w 12204000"/>
              <a:gd name="connsiteY7" fmla="*/ 3238074 h 4911479"/>
              <a:gd name="connsiteX8" fmla="*/ 10171448 w 12204000"/>
              <a:gd name="connsiteY8" fmla="*/ 3414011 h 4911479"/>
              <a:gd name="connsiteX9" fmla="*/ 10171448 w 12204000"/>
              <a:gd name="connsiteY9" fmla="*/ 3941824 h 4911479"/>
              <a:gd name="connsiteX10" fmla="*/ 10347760 w 12204000"/>
              <a:gd name="connsiteY10" fmla="*/ 4117761 h 4911479"/>
              <a:gd name="connsiteX11" fmla="*/ 10524071 w 12204000"/>
              <a:gd name="connsiteY11" fmla="*/ 3941824 h 4911479"/>
              <a:gd name="connsiteX12" fmla="*/ 10524071 w 12204000"/>
              <a:gd name="connsiteY12" fmla="*/ 3414011 h 4911479"/>
              <a:gd name="connsiteX13" fmla="*/ 10347760 w 12204000"/>
              <a:gd name="connsiteY13" fmla="*/ 3238074 h 4911479"/>
              <a:gd name="connsiteX14" fmla="*/ 10918439 w 12204000"/>
              <a:gd name="connsiteY14" fmla="*/ 2554011 h 4911479"/>
              <a:gd name="connsiteX15" fmla="*/ 10699759 w 12204000"/>
              <a:gd name="connsiteY15" fmla="*/ 2774545 h 4911479"/>
              <a:gd name="connsiteX16" fmla="*/ 10699759 w 12204000"/>
              <a:gd name="connsiteY16" fmla="*/ 4300936 h 4911479"/>
              <a:gd name="connsiteX17" fmla="*/ 10918439 w 12204000"/>
              <a:gd name="connsiteY17" fmla="*/ 4521470 h 4911479"/>
              <a:gd name="connsiteX18" fmla="*/ 11139603 w 12204000"/>
              <a:gd name="connsiteY18" fmla="*/ 4300936 h 4911479"/>
              <a:gd name="connsiteX19" fmla="*/ 11139603 w 12204000"/>
              <a:gd name="connsiteY19" fmla="*/ 2774545 h 4911479"/>
              <a:gd name="connsiteX20" fmla="*/ 10918439 w 12204000"/>
              <a:gd name="connsiteY20" fmla="*/ 2554011 h 4911479"/>
              <a:gd name="connsiteX21" fmla="*/ 0 w 12204000"/>
              <a:gd name="connsiteY21" fmla="*/ 0 h 4911479"/>
              <a:gd name="connsiteX22" fmla="*/ 12204000 w 12204000"/>
              <a:gd name="connsiteY22" fmla="*/ 0 h 4911479"/>
              <a:gd name="connsiteX23" fmla="*/ 12204000 w 12204000"/>
              <a:gd name="connsiteY23" fmla="*/ 3764192 h 4911479"/>
              <a:gd name="connsiteX24" fmla="*/ 12174294 w 12204000"/>
              <a:gd name="connsiteY24" fmla="*/ 3744149 h 4911479"/>
              <a:gd name="connsiteX25" fmla="*/ 12105887 w 12204000"/>
              <a:gd name="connsiteY25" fmla="*/ 3730249 h 4911479"/>
              <a:gd name="connsiteX26" fmla="*/ 11929576 w 12204000"/>
              <a:gd name="connsiteY26" fmla="*/ 3906184 h 4911479"/>
              <a:gd name="connsiteX27" fmla="*/ 11929576 w 12204000"/>
              <a:gd name="connsiteY27" fmla="*/ 4431510 h 4911479"/>
              <a:gd name="connsiteX28" fmla="*/ 12105887 w 12204000"/>
              <a:gd name="connsiteY28" fmla="*/ 4607444 h 4911479"/>
              <a:gd name="connsiteX29" fmla="*/ 12174294 w 12204000"/>
              <a:gd name="connsiteY29" fmla="*/ 4593544 h 4911479"/>
              <a:gd name="connsiteX30" fmla="*/ 12204000 w 12204000"/>
              <a:gd name="connsiteY30" fmla="*/ 4573503 h 4911479"/>
              <a:gd name="connsiteX31" fmla="*/ 12204000 w 12204000"/>
              <a:gd name="connsiteY31" fmla="*/ 4911479 h 4911479"/>
              <a:gd name="connsiteX32" fmla="*/ 11753887 w 12204000"/>
              <a:gd name="connsiteY32" fmla="*/ 4911479 h 4911479"/>
              <a:gd name="connsiteX33" fmla="*/ 11753887 w 12204000"/>
              <a:gd name="connsiteY33" fmla="*/ 4882357 h 4911479"/>
              <a:gd name="connsiteX34" fmla="*/ 11753887 w 12204000"/>
              <a:gd name="connsiteY34" fmla="*/ 3544596 h 4911479"/>
              <a:gd name="connsiteX35" fmla="*/ 11533350 w 12204000"/>
              <a:gd name="connsiteY35" fmla="*/ 3326540 h 4911479"/>
              <a:gd name="connsiteX36" fmla="*/ 11315290 w 12204000"/>
              <a:gd name="connsiteY36" fmla="*/ 3544596 h 4911479"/>
              <a:gd name="connsiteX37" fmla="*/ 11315290 w 12204000"/>
              <a:gd name="connsiteY37" fmla="*/ 4804345 h 4911479"/>
              <a:gd name="connsiteX38" fmla="*/ 11315290 w 12204000"/>
              <a:gd name="connsiteY38" fmla="*/ 4911479 h 4911479"/>
              <a:gd name="connsiteX39" fmla="*/ 0 w 12204000"/>
              <a:gd name="connsiteY39" fmla="*/ 4911479 h 49114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2204000" h="4911479">
                <a:moveTo>
                  <a:pt x="9926607" y="3747694"/>
                </a:moveTo>
                <a:cubicBezTo>
                  <a:pt x="9867154" y="3747694"/>
                  <a:pt x="9822564" y="3794876"/>
                  <a:pt x="9822564" y="3851991"/>
                </a:cubicBezTo>
                <a:cubicBezTo>
                  <a:pt x="9822564" y="3851991"/>
                  <a:pt x="9822564" y="3851991"/>
                  <a:pt x="9822564" y="3993537"/>
                </a:cubicBezTo>
                <a:cubicBezTo>
                  <a:pt x="9822564" y="4053135"/>
                  <a:pt x="9867154" y="4100317"/>
                  <a:pt x="9926607" y="4100317"/>
                </a:cubicBezTo>
                <a:cubicBezTo>
                  <a:pt x="9983582" y="4100317"/>
                  <a:pt x="10030649" y="4053135"/>
                  <a:pt x="10030649" y="3993537"/>
                </a:cubicBezTo>
                <a:cubicBezTo>
                  <a:pt x="10030649" y="3993537"/>
                  <a:pt x="10030649" y="3993537"/>
                  <a:pt x="10030649" y="3851991"/>
                </a:cubicBezTo>
                <a:cubicBezTo>
                  <a:pt x="10030649" y="3794876"/>
                  <a:pt x="9983582" y="3747694"/>
                  <a:pt x="9926607" y="3747694"/>
                </a:cubicBezTo>
                <a:close/>
                <a:moveTo>
                  <a:pt x="10347760" y="3238074"/>
                </a:moveTo>
                <a:cubicBezTo>
                  <a:pt x="10250913" y="3238074"/>
                  <a:pt x="10171448" y="3317370"/>
                  <a:pt x="10171448" y="3414011"/>
                </a:cubicBezTo>
                <a:cubicBezTo>
                  <a:pt x="10171448" y="3414011"/>
                  <a:pt x="10171448" y="3414011"/>
                  <a:pt x="10171448" y="3941824"/>
                </a:cubicBezTo>
                <a:cubicBezTo>
                  <a:pt x="10171448" y="4038465"/>
                  <a:pt x="10250913" y="4117761"/>
                  <a:pt x="10347760" y="4117761"/>
                </a:cubicBezTo>
                <a:cubicBezTo>
                  <a:pt x="10444607" y="4117761"/>
                  <a:pt x="10524071" y="4038465"/>
                  <a:pt x="10524071" y="3941824"/>
                </a:cubicBezTo>
                <a:cubicBezTo>
                  <a:pt x="10524071" y="3941824"/>
                  <a:pt x="10524071" y="3941824"/>
                  <a:pt x="10524071" y="3414011"/>
                </a:cubicBezTo>
                <a:cubicBezTo>
                  <a:pt x="10524071" y="3317370"/>
                  <a:pt x="10444607" y="3238074"/>
                  <a:pt x="10347760" y="3238074"/>
                </a:cubicBezTo>
                <a:close/>
                <a:moveTo>
                  <a:pt x="10918439" y="2554011"/>
                </a:moveTo>
                <a:cubicBezTo>
                  <a:pt x="10799159" y="2554011"/>
                  <a:pt x="10699759" y="2653127"/>
                  <a:pt x="10699759" y="2774545"/>
                </a:cubicBezTo>
                <a:cubicBezTo>
                  <a:pt x="10699759" y="2774545"/>
                  <a:pt x="10699759" y="2774545"/>
                  <a:pt x="10699759" y="4300936"/>
                </a:cubicBezTo>
                <a:cubicBezTo>
                  <a:pt x="10699759" y="4422354"/>
                  <a:pt x="10799159" y="4521470"/>
                  <a:pt x="10918439" y="4521470"/>
                </a:cubicBezTo>
                <a:cubicBezTo>
                  <a:pt x="11040203" y="4521470"/>
                  <a:pt x="11139603" y="4422354"/>
                  <a:pt x="11139603" y="4300936"/>
                </a:cubicBezTo>
                <a:cubicBezTo>
                  <a:pt x="11139603" y="4300936"/>
                  <a:pt x="11139603" y="4300936"/>
                  <a:pt x="11139603" y="2774545"/>
                </a:cubicBezTo>
                <a:cubicBezTo>
                  <a:pt x="11139603" y="2653127"/>
                  <a:pt x="11040203" y="2554011"/>
                  <a:pt x="10918439" y="2554011"/>
                </a:cubicBezTo>
                <a:close/>
                <a:moveTo>
                  <a:pt x="0" y="0"/>
                </a:moveTo>
                <a:lnTo>
                  <a:pt x="12204000" y="0"/>
                </a:lnTo>
                <a:lnTo>
                  <a:pt x="12204000" y="3764192"/>
                </a:lnTo>
                <a:lnTo>
                  <a:pt x="12174294" y="3744149"/>
                </a:lnTo>
                <a:cubicBezTo>
                  <a:pt x="12153224" y="3735205"/>
                  <a:pt x="12130099" y="3730249"/>
                  <a:pt x="12105887" y="3730249"/>
                </a:cubicBezTo>
                <a:cubicBezTo>
                  <a:pt x="12009040" y="3730249"/>
                  <a:pt x="11929576" y="3809544"/>
                  <a:pt x="11929576" y="3906184"/>
                </a:cubicBezTo>
                <a:cubicBezTo>
                  <a:pt x="11929576" y="3906184"/>
                  <a:pt x="11929576" y="3906184"/>
                  <a:pt x="11929576" y="4431510"/>
                </a:cubicBezTo>
                <a:cubicBezTo>
                  <a:pt x="11929576" y="4528150"/>
                  <a:pt x="12009040" y="4607444"/>
                  <a:pt x="12105887" y="4607444"/>
                </a:cubicBezTo>
                <a:cubicBezTo>
                  <a:pt x="12130099" y="4607444"/>
                  <a:pt x="12153224" y="4602488"/>
                  <a:pt x="12174294" y="4593544"/>
                </a:cubicBezTo>
                <a:lnTo>
                  <a:pt x="12204000" y="4573503"/>
                </a:lnTo>
                <a:lnTo>
                  <a:pt x="12204000" y="4911479"/>
                </a:lnTo>
                <a:lnTo>
                  <a:pt x="11753887" y="4911479"/>
                </a:lnTo>
                <a:lnTo>
                  <a:pt x="11753887" y="4882357"/>
                </a:lnTo>
                <a:cubicBezTo>
                  <a:pt x="11753887" y="4691248"/>
                  <a:pt x="11753887" y="4309031"/>
                  <a:pt x="11753887" y="3544596"/>
                </a:cubicBezTo>
                <a:cubicBezTo>
                  <a:pt x="11753887" y="3425656"/>
                  <a:pt x="11654769" y="3326540"/>
                  <a:pt x="11533350" y="3326540"/>
                </a:cubicBezTo>
                <a:cubicBezTo>
                  <a:pt x="11414408" y="3326540"/>
                  <a:pt x="11315290" y="3425656"/>
                  <a:pt x="11315290" y="3544596"/>
                </a:cubicBezTo>
                <a:cubicBezTo>
                  <a:pt x="11315290" y="3544596"/>
                  <a:pt x="11315290" y="3544596"/>
                  <a:pt x="11315290" y="4804345"/>
                </a:cubicBezTo>
                <a:lnTo>
                  <a:pt x="11315290" y="4911479"/>
                </a:lnTo>
                <a:lnTo>
                  <a:pt x="0" y="4911479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anchor="ctr" anchorCtr="0">
            <a:noAutofit/>
          </a:bodyPr>
          <a:lstStyle>
            <a:lvl1pPr marL="0" marR="0" indent="0" algn="ctr" defTabSz="1088776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Insert image by clicking on placeholder + Images button</a:t>
            </a:r>
          </a:p>
        </p:txBody>
      </p:sp>
      <p:sp>
        <p:nvSpPr>
          <p:cNvPr id="38" name="Pulse">
            <a:extLst>
              <a:ext uri="{FF2B5EF4-FFF2-40B4-BE49-F238E27FC236}">
                <a16:creationId xmlns:a16="http://schemas.microsoft.com/office/drawing/2014/main" id="{437A1C0F-02A0-4154-9BE2-4CC52A926281}"/>
              </a:ext>
            </a:extLst>
          </p:cNvPr>
          <p:cNvSpPr>
            <a:spLocks/>
          </p:cNvSpPr>
          <p:nvPr userDrawn="1"/>
        </p:nvSpPr>
        <p:spPr bwMode="auto">
          <a:xfrm>
            <a:off x="9824400" y="2552400"/>
            <a:ext cx="2391674" cy="2739988"/>
          </a:xfrm>
          <a:custGeom>
            <a:avLst/>
            <a:gdLst>
              <a:gd name="connsiteX0" fmla="*/ 104043 w 2391674"/>
              <a:gd name="connsiteY0" fmla="*/ 1193683 h 2739988"/>
              <a:gd name="connsiteX1" fmla="*/ 208085 w 2391674"/>
              <a:gd name="connsiteY1" fmla="*/ 1297980 h 2739988"/>
              <a:gd name="connsiteX2" fmla="*/ 208085 w 2391674"/>
              <a:gd name="connsiteY2" fmla="*/ 1439526 h 2739988"/>
              <a:gd name="connsiteX3" fmla="*/ 104043 w 2391674"/>
              <a:gd name="connsiteY3" fmla="*/ 1546306 h 2739988"/>
              <a:gd name="connsiteX4" fmla="*/ 0 w 2391674"/>
              <a:gd name="connsiteY4" fmla="*/ 1439526 h 2739988"/>
              <a:gd name="connsiteX5" fmla="*/ 0 w 2391674"/>
              <a:gd name="connsiteY5" fmla="*/ 1297980 h 2739988"/>
              <a:gd name="connsiteX6" fmla="*/ 104043 w 2391674"/>
              <a:gd name="connsiteY6" fmla="*/ 1193683 h 2739988"/>
              <a:gd name="connsiteX7" fmla="*/ 2283323 w 2391674"/>
              <a:gd name="connsiteY7" fmla="*/ 1176238 h 2739988"/>
              <a:gd name="connsiteX8" fmla="*/ 2351730 w 2391674"/>
              <a:gd name="connsiteY8" fmla="*/ 1190138 h 2739988"/>
              <a:gd name="connsiteX9" fmla="*/ 2391674 w 2391674"/>
              <a:gd name="connsiteY9" fmla="*/ 1217088 h 2739988"/>
              <a:gd name="connsiteX10" fmla="*/ 2391674 w 2391674"/>
              <a:gd name="connsiteY10" fmla="*/ 2012584 h 2739988"/>
              <a:gd name="connsiteX11" fmla="*/ 2351730 w 2391674"/>
              <a:gd name="connsiteY11" fmla="*/ 2039533 h 2739988"/>
              <a:gd name="connsiteX12" fmla="*/ 2283323 w 2391674"/>
              <a:gd name="connsiteY12" fmla="*/ 2053433 h 2739988"/>
              <a:gd name="connsiteX13" fmla="*/ 2107012 w 2391674"/>
              <a:gd name="connsiteY13" fmla="*/ 1877499 h 2739988"/>
              <a:gd name="connsiteX14" fmla="*/ 2107012 w 2391674"/>
              <a:gd name="connsiteY14" fmla="*/ 1352173 h 2739988"/>
              <a:gd name="connsiteX15" fmla="*/ 2283323 w 2391674"/>
              <a:gd name="connsiteY15" fmla="*/ 1176238 h 2739988"/>
              <a:gd name="connsiteX16" fmla="*/ 1710786 w 2391674"/>
              <a:gd name="connsiteY16" fmla="*/ 772529 h 2739988"/>
              <a:gd name="connsiteX17" fmla="*/ 1931323 w 2391674"/>
              <a:gd name="connsiteY17" fmla="*/ 990585 h 2739988"/>
              <a:gd name="connsiteX18" fmla="*/ 1931323 w 2391674"/>
              <a:gd name="connsiteY18" fmla="*/ 2519454 h 2739988"/>
              <a:gd name="connsiteX19" fmla="*/ 1710786 w 2391674"/>
              <a:gd name="connsiteY19" fmla="*/ 2739988 h 2739988"/>
              <a:gd name="connsiteX20" fmla="*/ 1492726 w 2391674"/>
              <a:gd name="connsiteY20" fmla="*/ 2519454 h 2739988"/>
              <a:gd name="connsiteX21" fmla="*/ 1492726 w 2391674"/>
              <a:gd name="connsiteY21" fmla="*/ 990585 h 2739988"/>
              <a:gd name="connsiteX22" fmla="*/ 1710786 w 2391674"/>
              <a:gd name="connsiteY22" fmla="*/ 772529 h 2739988"/>
              <a:gd name="connsiteX23" fmla="*/ 525196 w 2391674"/>
              <a:gd name="connsiteY23" fmla="*/ 684063 h 2739988"/>
              <a:gd name="connsiteX24" fmla="*/ 701507 w 2391674"/>
              <a:gd name="connsiteY24" fmla="*/ 860000 h 2739988"/>
              <a:gd name="connsiteX25" fmla="*/ 701507 w 2391674"/>
              <a:gd name="connsiteY25" fmla="*/ 1387813 h 2739988"/>
              <a:gd name="connsiteX26" fmla="*/ 525196 w 2391674"/>
              <a:gd name="connsiteY26" fmla="*/ 1563750 h 2739988"/>
              <a:gd name="connsiteX27" fmla="*/ 348884 w 2391674"/>
              <a:gd name="connsiteY27" fmla="*/ 1387813 h 2739988"/>
              <a:gd name="connsiteX28" fmla="*/ 348884 w 2391674"/>
              <a:gd name="connsiteY28" fmla="*/ 860000 h 2739988"/>
              <a:gd name="connsiteX29" fmla="*/ 525196 w 2391674"/>
              <a:gd name="connsiteY29" fmla="*/ 684063 h 2739988"/>
              <a:gd name="connsiteX30" fmla="*/ 1095875 w 2391674"/>
              <a:gd name="connsiteY30" fmla="*/ 0 h 2739988"/>
              <a:gd name="connsiteX31" fmla="*/ 1317039 w 2391674"/>
              <a:gd name="connsiteY31" fmla="*/ 220534 h 2739988"/>
              <a:gd name="connsiteX32" fmla="*/ 1317039 w 2391674"/>
              <a:gd name="connsiteY32" fmla="*/ 1746925 h 2739988"/>
              <a:gd name="connsiteX33" fmla="*/ 1095875 w 2391674"/>
              <a:gd name="connsiteY33" fmla="*/ 1967459 h 2739988"/>
              <a:gd name="connsiteX34" fmla="*/ 877195 w 2391674"/>
              <a:gd name="connsiteY34" fmla="*/ 1746925 h 2739988"/>
              <a:gd name="connsiteX35" fmla="*/ 877195 w 2391674"/>
              <a:gd name="connsiteY35" fmla="*/ 220534 h 2739988"/>
              <a:gd name="connsiteX36" fmla="*/ 1095875 w 2391674"/>
              <a:gd name="connsiteY36" fmla="*/ 0 h 2739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2391674" h="2739988">
                <a:moveTo>
                  <a:pt x="104043" y="1193683"/>
                </a:moveTo>
                <a:cubicBezTo>
                  <a:pt x="161018" y="1193683"/>
                  <a:pt x="208085" y="1240865"/>
                  <a:pt x="208085" y="1297980"/>
                </a:cubicBezTo>
                <a:cubicBezTo>
                  <a:pt x="208085" y="1439526"/>
                  <a:pt x="208085" y="1439526"/>
                  <a:pt x="208085" y="1439526"/>
                </a:cubicBezTo>
                <a:cubicBezTo>
                  <a:pt x="208085" y="1499124"/>
                  <a:pt x="161018" y="1546306"/>
                  <a:pt x="104043" y="1546306"/>
                </a:cubicBezTo>
                <a:cubicBezTo>
                  <a:pt x="44590" y="1546306"/>
                  <a:pt x="0" y="1499124"/>
                  <a:pt x="0" y="1439526"/>
                </a:cubicBezTo>
                <a:cubicBezTo>
                  <a:pt x="0" y="1297980"/>
                  <a:pt x="0" y="1297980"/>
                  <a:pt x="0" y="1297980"/>
                </a:cubicBezTo>
                <a:cubicBezTo>
                  <a:pt x="0" y="1240865"/>
                  <a:pt x="44590" y="1193683"/>
                  <a:pt x="104043" y="1193683"/>
                </a:cubicBezTo>
                <a:close/>
                <a:moveTo>
                  <a:pt x="2283323" y="1176238"/>
                </a:moveTo>
                <a:cubicBezTo>
                  <a:pt x="2307535" y="1176238"/>
                  <a:pt x="2330660" y="1181194"/>
                  <a:pt x="2351730" y="1190138"/>
                </a:cubicBezTo>
                <a:lnTo>
                  <a:pt x="2391674" y="1217088"/>
                </a:lnTo>
                <a:lnTo>
                  <a:pt x="2391674" y="2012584"/>
                </a:lnTo>
                <a:lnTo>
                  <a:pt x="2351730" y="2039533"/>
                </a:lnTo>
                <a:cubicBezTo>
                  <a:pt x="2330660" y="2048477"/>
                  <a:pt x="2307535" y="2053433"/>
                  <a:pt x="2283323" y="2053433"/>
                </a:cubicBezTo>
                <a:cubicBezTo>
                  <a:pt x="2186476" y="2053433"/>
                  <a:pt x="2107012" y="1974139"/>
                  <a:pt x="2107012" y="1877499"/>
                </a:cubicBezTo>
                <a:cubicBezTo>
                  <a:pt x="2107012" y="1352173"/>
                  <a:pt x="2107012" y="1352173"/>
                  <a:pt x="2107012" y="1352173"/>
                </a:cubicBezTo>
                <a:cubicBezTo>
                  <a:pt x="2107012" y="1255533"/>
                  <a:pt x="2186476" y="1176238"/>
                  <a:pt x="2283323" y="1176238"/>
                </a:cubicBezTo>
                <a:close/>
                <a:moveTo>
                  <a:pt x="1710786" y="772529"/>
                </a:moveTo>
                <a:cubicBezTo>
                  <a:pt x="1832205" y="772529"/>
                  <a:pt x="1931323" y="871645"/>
                  <a:pt x="1931323" y="990585"/>
                </a:cubicBezTo>
                <a:cubicBezTo>
                  <a:pt x="1931323" y="2519454"/>
                  <a:pt x="1931323" y="2519454"/>
                  <a:pt x="1931323" y="2519454"/>
                </a:cubicBezTo>
                <a:cubicBezTo>
                  <a:pt x="1931323" y="2640872"/>
                  <a:pt x="1832205" y="2739988"/>
                  <a:pt x="1710786" y="2739988"/>
                </a:cubicBezTo>
                <a:cubicBezTo>
                  <a:pt x="1591844" y="2739988"/>
                  <a:pt x="1492726" y="2640872"/>
                  <a:pt x="1492726" y="2519454"/>
                </a:cubicBezTo>
                <a:cubicBezTo>
                  <a:pt x="1492726" y="990585"/>
                  <a:pt x="1492726" y="990585"/>
                  <a:pt x="1492726" y="990585"/>
                </a:cubicBezTo>
                <a:cubicBezTo>
                  <a:pt x="1492726" y="871645"/>
                  <a:pt x="1591844" y="772529"/>
                  <a:pt x="1710786" y="772529"/>
                </a:cubicBezTo>
                <a:close/>
                <a:moveTo>
                  <a:pt x="525196" y="684063"/>
                </a:moveTo>
                <a:cubicBezTo>
                  <a:pt x="622043" y="684063"/>
                  <a:pt x="701507" y="763359"/>
                  <a:pt x="701507" y="860000"/>
                </a:cubicBezTo>
                <a:cubicBezTo>
                  <a:pt x="701507" y="1387813"/>
                  <a:pt x="701507" y="1387813"/>
                  <a:pt x="701507" y="1387813"/>
                </a:cubicBezTo>
                <a:cubicBezTo>
                  <a:pt x="701507" y="1484454"/>
                  <a:pt x="622043" y="1563750"/>
                  <a:pt x="525196" y="1563750"/>
                </a:cubicBezTo>
                <a:cubicBezTo>
                  <a:pt x="428349" y="1563750"/>
                  <a:pt x="348884" y="1484454"/>
                  <a:pt x="348884" y="1387813"/>
                </a:cubicBezTo>
                <a:cubicBezTo>
                  <a:pt x="348884" y="860000"/>
                  <a:pt x="348884" y="860000"/>
                  <a:pt x="348884" y="860000"/>
                </a:cubicBezTo>
                <a:cubicBezTo>
                  <a:pt x="348884" y="763359"/>
                  <a:pt x="428349" y="684063"/>
                  <a:pt x="525196" y="684063"/>
                </a:cubicBezTo>
                <a:close/>
                <a:moveTo>
                  <a:pt x="1095875" y="0"/>
                </a:moveTo>
                <a:cubicBezTo>
                  <a:pt x="1217639" y="0"/>
                  <a:pt x="1317039" y="99116"/>
                  <a:pt x="1317039" y="220534"/>
                </a:cubicBezTo>
                <a:cubicBezTo>
                  <a:pt x="1317039" y="1746925"/>
                  <a:pt x="1317039" y="1746925"/>
                  <a:pt x="1317039" y="1746925"/>
                </a:cubicBezTo>
                <a:cubicBezTo>
                  <a:pt x="1317039" y="1868343"/>
                  <a:pt x="1217639" y="1967459"/>
                  <a:pt x="1095875" y="1967459"/>
                </a:cubicBezTo>
                <a:cubicBezTo>
                  <a:pt x="976595" y="1967459"/>
                  <a:pt x="877195" y="1868343"/>
                  <a:pt x="877195" y="1746925"/>
                </a:cubicBezTo>
                <a:cubicBezTo>
                  <a:pt x="877195" y="220534"/>
                  <a:pt x="877195" y="220534"/>
                  <a:pt x="877195" y="220534"/>
                </a:cubicBezTo>
                <a:cubicBezTo>
                  <a:pt x="877195" y="99116"/>
                  <a:pt x="976595" y="0"/>
                  <a:pt x="1095875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5" name="Logotype">
            <a:extLst>
              <a:ext uri="{FF2B5EF4-FFF2-40B4-BE49-F238E27FC236}">
                <a16:creationId xmlns:a16="http://schemas.microsoft.com/office/drawing/2014/main" id="{0D585B6D-CABE-5C63-D893-BD24D22C24BC}"/>
              </a:ext>
            </a:extLst>
          </p:cNvPr>
          <p:cNvSpPr>
            <a:spLocks noChangeAspect="1"/>
          </p:cNvSpPr>
          <p:nvPr userDrawn="1"/>
        </p:nvSpPr>
        <p:spPr>
          <a:xfrm>
            <a:off x="10277295" y="6152120"/>
            <a:ext cx="1386000" cy="450119"/>
          </a:xfrm>
          <a:custGeom>
            <a:avLst/>
            <a:gdLst>
              <a:gd name="connsiteX0" fmla="*/ 720090 w 1296352"/>
              <a:gd name="connsiteY0" fmla="*/ 368618 h 421005"/>
              <a:gd name="connsiteX1" fmla="*/ 711518 w 1296352"/>
              <a:gd name="connsiteY1" fmla="*/ 392431 h 421005"/>
              <a:gd name="connsiteX2" fmla="*/ 710565 w 1296352"/>
              <a:gd name="connsiteY2" fmla="*/ 394336 h 421005"/>
              <a:gd name="connsiteX3" fmla="*/ 729615 w 1296352"/>
              <a:gd name="connsiteY3" fmla="*/ 394336 h 421005"/>
              <a:gd name="connsiteX4" fmla="*/ 728663 w 1296352"/>
              <a:gd name="connsiteY4" fmla="*/ 392431 h 421005"/>
              <a:gd name="connsiteX5" fmla="*/ 720090 w 1296352"/>
              <a:gd name="connsiteY5" fmla="*/ 368618 h 421005"/>
              <a:gd name="connsiteX6" fmla="*/ 565785 w 1296352"/>
              <a:gd name="connsiteY6" fmla="*/ 368618 h 421005"/>
              <a:gd name="connsiteX7" fmla="*/ 557213 w 1296352"/>
              <a:gd name="connsiteY7" fmla="*/ 392431 h 421005"/>
              <a:gd name="connsiteX8" fmla="*/ 556260 w 1296352"/>
              <a:gd name="connsiteY8" fmla="*/ 394336 h 421005"/>
              <a:gd name="connsiteX9" fmla="*/ 575310 w 1296352"/>
              <a:gd name="connsiteY9" fmla="*/ 394336 h 421005"/>
              <a:gd name="connsiteX10" fmla="*/ 574357 w 1296352"/>
              <a:gd name="connsiteY10" fmla="*/ 392431 h 421005"/>
              <a:gd name="connsiteX11" fmla="*/ 565785 w 1296352"/>
              <a:gd name="connsiteY11" fmla="*/ 368618 h 421005"/>
              <a:gd name="connsiteX12" fmla="*/ 100012 w 1296352"/>
              <a:gd name="connsiteY12" fmla="*/ 368618 h 421005"/>
              <a:gd name="connsiteX13" fmla="*/ 91440 w 1296352"/>
              <a:gd name="connsiteY13" fmla="*/ 392431 h 421005"/>
              <a:gd name="connsiteX14" fmla="*/ 90487 w 1296352"/>
              <a:gd name="connsiteY14" fmla="*/ 394336 h 421005"/>
              <a:gd name="connsiteX15" fmla="*/ 109537 w 1296352"/>
              <a:gd name="connsiteY15" fmla="*/ 394336 h 421005"/>
              <a:gd name="connsiteX16" fmla="*/ 108585 w 1296352"/>
              <a:gd name="connsiteY16" fmla="*/ 392431 h 421005"/>
              <a:gd name="connsiteX17" fmla="*/ 100012 w 1296352"/>
              <a:gd name="connsiteY17" fmla="*/ 368618 h 421005"/>
              <a:gd name="connsiteX18" fmla="*/ 915353 w 1296352"/>
              <a:gd name="connsiteY18" fmla="*/ 356236 h 421005"/>
              <a:gd name="connsiteX19" fmla="*/ 933451 w 1296352"/>
              <a:gd name="connsiteY19" fmla="*/ 356236 h 421005"/>
              <a:gd name="connsiteX20" fmla="*/ 942976 w 1296352"/>
              <a:gd name="connsiteY20" fmla="*/ 381953 h 421005"/>
              <a:gd name="connsiteX21" fmla="*/ 950596 w 1296352"/>
              <a:gd name="connsiteY21" fmla="*/ 401956 h 421005"/>
              <a:gd name="connsiteX22" fmla="*/ 958215 w 1296352"/>
              <a:gd name="connsiteY22" fmla="*/ 381953 h 421005"/>
              <a:gd name="connsiteX23" fmla="*/ 967740 w 1296352"/>
              <a:gd name="connsiteY23" fmla="*/ 356236 h 421005"/>
              <a:gd name="connsiteX24" fmla="*/ 986790 w 1296352"/>
              <a:gd name="connsiteY24" fmla="*/ 356236 h 421005"/>
              <a:gd name="connsiteX25" fmla="*/ 986790 w 1296352"/>
              <a:gd name="connsiteY25" fmla="*/ 419101 h 421005"/>
              <a:gd name="connsiteX26" fmla="*/ 973455 w 1296352"/>
              <a:gd name="connsiteY26" fmla="*/ 419101 h 421005"/>
              <a:gd name="connsiteX27" fmla="*/ 973455 w 1296352"/>
              <a:gd name="connsiteY27" fmla="*/ 396241 h 421005"/>
              <a:gd name="connsiteX28" fmla="*/ 973455 w 1296352"/>
              <a:gd name="connsiteY28" fmla="*/ 370523 h 421005"/>
              <a:gd name="connsiteX29" fmla="*/ 963930 w 1296352"/>
              <a:gd name="connsiteY29" fmla="*/ 396241 h 421005"/>
              <a:gd name="connsiteX30" fmla="*/ 955358 w 1296352"/>
              <a:gd name="connsiteY30" fmla="*/ 419101 h 421005"/>
              <a:gd name="connsiteX31" fmla="*/ 945833 w 1296352"/>
              <a:gd name="connsiteY31" fmla="*/ 419101 h 421005"/>
              <a:gd name="connsiteX32" fmla="*/ 937260 w 1296352"/>
              <a:gd name="connsiteY32" fmla="*/ 396241 h 421005"/>
              <a:gd name="connsiteX33" fmla="*/ 927735 w 1296352"/>
              <a:gd name="connsiteY33" fmla="*/ 371476 h 421005"/>
              <a:gd name="connsiteX34" fmla="*/ 927735 w 1296352"/>
              <a:gd name="connsiteY34" fmla="*/ 397193 h 421005"/>
              <a:gd name="connsiteX35" fmla="*/ 927735 w 1296352"/>
              <a:gd name="connsiteY35" fmla="*/ 420053 h 421005"/>
              <a:gd name="connsiteX36" fmla="*/ 915353 w 1296352"/>
              <a:gd name="connsiteY36" fmla="*/ 420053 h 421005"/>
              <a:gd name="connsiteX37" fmla="*/ 445770 w 1296352"/>
              <a:gd name="connsiteY37" fmla="*/ 356236 h 421005"/>
              <a:gd name="connsiteX38" fmla="*/ 463868 w 1296352"/>
              <a:gd name="connsiteY38" fmla="*/ 356236 h 421005"/>
              <a:gd name="connsiteX39" fmla="*/ 473393 w 1296352"/>
              <a:gd name="connsiteY39" fmla="*/ 381953 h 421005"/>
              <a:gd name="connsiteX40" fmla="*/ 481013 w 1296352"/>
              <a:gd name="connsiteY40" fmla="*/ 401956 h 421005"/>
              <a:gd name="connsiteX41" fmla="*/ 488633 w 1296352"/>
              <a:gd name="connsiteY41" fmla="*/ 381953 h 421005"/>
              <a:gd name="connsiteX42" fmla="*/ 498158 w 1296352"/>
              <a:gd name="connsiteY42" fmla="*/ 356236 h 421005"/>
              <a:gd name="connsiteX43" fmla="*/ 516255 w 1296352"/>
              <a:gd name="connsiteY43" fmla="*/ 356236 h 421005"/>
              <a:gd name="connsiteX44" fmla="*/ 516255 w 1296352"/>
              <a:gd name="connsiteY44" fmla="*/ 419101 h 421005"/>
              <a:gd name="connsiteX45" fmla="*/ 502920 w 1296352"/>
              <a:gd name="connsiteY45" fmla="*/ 419101 h 421005"/>
              <a:gd name="connsiteX46" fmla="*/ 502920 w 1296352"/>
              <a:gd name="connsiteY46" fmla="*/ 396241 h 421005"/>
              <a:gd name="connsiteX47" fmla="*/ 502920 w 1296352"/>
              <a:gd name="connsiteY47" fmla="*/ 370523 h 421005"/>
              <a:gd name="connsiteX48" fmla="*/ 493395 w 1296352"/>
              <a:gd name="connsiteY48" fmla="*/ 396241 h 421005"/>
              <a:gd name="connsiteX49" fmla="*/ 484822 w 1296352"/>
              <a:gd name="connsiteY49" fmla="*/ 419101 h 421005"/>
              <a:gd name="connsiteX50" fmla="*/ 475297 w 1296352"/>
              <a:gd name="connsiteY50" fmla="*/ 419101 h 421005"/>
              <a:gd name="connsiteX51" fmla="*/ 467678 w 1296352"/>
              <a:gd name="connsiteY51" fmla="*/ 396241 h 421005"/>
              <a:gd name="connsiteX52" fmla="*/ 458153 w 1296352"/>
              <a:gd name="connsiteY52" fmla="*/ 371476 h 421005"/>
              <a:gd name="connsiteX53" fmla="*/ 458153 w 1296352"/>
              <a:gd name="connsiteY53" fmla="*/ 397193 h 421005"/>
              <a:gd name="connsiteX54" fmla="*/ 458153 w 1296352"/>
              <a:gd name="connsiteY54" fmla="*/ 420053 h 421005"/>
              <a:gd name="connsiteX55" fmla="*/ 445770 w 1296352"/>
              <a:gd name="connsiteY55" fmla="*/ 420053 h 421005"/>
              <a:gd name="connsiteX56" fmla="*/ 1158240 w 1296352"/>
              <a:gd name="connsiteY56" fmla="*/ 355283 h 421005"/>
              <a:gd name="connsiteX57" fmla="*/ 1208723 w 1296352"/>
              <a:gd name="connsiteY57" fmla="*/ 355283 h 421005"/>
              <a:gd name="connsiteX58" fmla="*/ 1208723 w 1296352"/>
              <a:gd name="connsiteY58" fmla="*/ 366713 h 421005"/>
              <a:gd name="connsiteX59" fmla="*/ 1189673 w 1296352"/>
              <a:gd name="connsiteY59" fmla="*/ 366713 h 421005"/>
              <a:gd name="connsiteX60" fmla="*/ 1189673 w 1296352"/>
              <a:gd name="connsiteY60" fmla="*/ 419101 h 421005"/>
              <a:gd name="connsiteX61" fmla="*/ 1176338 w 1296352"/>
              <a:gd name="connsiteY61" fmla="*/ 419101 h 421005"/>
              <a:gd name="connsiteX62" fmla="*/ 1176338 w 1296352"/>
              <a:gd name="connsiteY62" fmla="*/ 366713 h 421005"/>
              <a:gd name="connsiteX63" fmla="*/ 1158240 w 1296352"/>
              <a:gd name="connsiteY63" fmla="*/ 366713 h 421005"/>
              <a:gd name="connsiteX64" fmla="*/ 1084897 w 1296352"/>
              <a:gd name="connsiteY64" fmla="*/ 355283 h 421005"/>
              <a:gd name="connsiteX65" fmla="*/ 1099185 w 1296352"/>
              <a:gd name="connsiteY65" fmla="*/ 355283 h 421005"/>
              <a:gd name="connsiteX66" fmla="*/ 1113472 w 1296352"/>
              <a:gd name="connsiteY66" fmla="*/ 377191 h 421005"/>
              <a:gd name="connsiteX67" fmla="*/ 1125855 w 1296352"/>
              <a:gd name="connsiteY67" fmla="*/ 397193 h 421005"/>
              <a:gd name="connsiteX68" fmla="*/ 1125855 w 1296352"/>
              <a:gd name="connsiteY68" fmla="*/ 355283 h 421005"/>
              <a:gd name="connsiteX69" fmla="*/ 1138237 w 1296352"/>
              <a:gd name="connsiteY69" fmla="*/ 355283 h 421005"/>
              <a:gd name="connsiteX70" fmla="*/ 1138237 w 1296352"/>
              <a:gd name="connsiteY70" fmla="*/ 419101 h 421005"/>
              <a:gd name="connsiteX71" fmla="*/ 1126807 w 1296352"/>
              <a:gd name="connsiteY71" fmla="*/ 419101 h 421005"/>
              <a:gd name="connsiteX72" fmla="*/ 1111567 w 1296352"/>
              <a:gd name="connsiteY72" fmla="*/ 395288 h 421005"/>
              <a:gd name="connsiteX73" fmla="*/ 1097280 w 1296352"/>
              <a:gd name="connsiteY73" fmla="*/ 373381 h 421005"/>
              <a:gd name="connsiteX74" fmla="*/ 1097280 w 1296352"/>
              <a:gd name="connsiteY74" fmla="*/ 419101 h 421005"/>
              <a:gd name="connsiteX75" fmla="*/ 1084897 w 1296352"/>
              <a:gd name="connsiteY75" fmla="*/ 419101 h 421005"/>
              <a:gd name="connsiteX76" fmla="*/ 1013460 w 1296352"/>
              <a:gd name="connsiteY76" fmla="*/ 355283 h 421005"/>
              <a:gd name="connsiteX77" fmla="*/ 1057275 w 1296352"/>
              <a:gd name="connsiteY77" fmla="*/ 355283 h 421005"/>
              <a:gd name="connsiteX78" fmla="*/ 1057275 w 1296352"/>
              <a:gd name="connsiteY78" fmla="*/ 366713 h 421005"/>
              <a:gd name="connsiteX79" fmla="*/ 1026795 w 1296352"/>
              <a:gd name="connsiteY79" fmla="*/ 366713 h 421005"/>
              <a:gd name="connsiteX80" fmla="*/ 1026795 w 1296352"/>
              <a:gd name="connsiteY80" fmla="*/ 381001 h 421005"/>
              <a:gd name="connsiteX81" fmla="*/ 1054418 w 1296352"/>
              <a:gd name="connsiteY81" fmla="*/ 381001 h 421005"/>
              <a:gd name="connsiteX82" fmla="*/ 1054418 w 1296352"/>
              <a:gd name="connsiteY82" fmla="*/ 392431 h 421005"/>
              <a:gd name="connsiteX83" fmla="*/ 1026795 w 1296352"/>
              <a:gd name="connsiteY83" fmla="*/ 392431 h 421005"/>
              <a:gd name="connsiteX84" fmla="*/ 1026795 w 1296352"/>
              <a:gd name="connsiteY84" fmla="*/ 407671 h 421005"/>
              <a:gd name="connsiteX85" fmla="*/ 1058227 w 1296352"/>
              <a:gd name="connsiteY85" fmla="*/ 407671 h 421005"/>
              <a:gd name="connsiteX86" fmla="*/ 1058227 w 1296352"/>
              <a:gd name="connsiteY86" fmla="*/ 419101 h 421005"/>
              <a:gd name="connsiteX87" fmla="*/ 1013460 w 1296352"/>
              <a:gd name="connsiteY87" fmla="*/ 419101 h 421005"/>
              <a:gd name="connsiteX88" fmla="*/ 845820 w 1296352"/>
              <a:gd name="connsiteY88" fmla="*/ 355283 h 421005"/>
              <a:gd name="connsiteX89" fmla="*/ 889635 w 1296352"/>
              <a:gd name="connsiteY89" fmla="*/ 355283 h 421005"/>
              <a:gd name="connsiteX90" fmla="*/ 889635 w 1296352"/>
              <a:gd name="connsiteY90" fmla="*/ 366713 h 421005"/>
              <a:gd name="connsiteX91" fmla="*/ 859155 w 1296352"/>
              <a:gd name="connsiteY91" fmla="*/ 366713 h 421005"/>
              <a:gd name="connsiteX92" fmla="*/ 859155 w 1296352"/>
              <a:gd name="connsiteY92" fmla="*/ 381001 h 421005"/>
              <a:gd name="connsiteX93" fmla="*/ 886778 w 1296352"/>
              <a:gd name="connsiteY93" fmla="*/ 381001 h 421005"/>
              <a:gd name="connsiteX94" fmla="*/ 886778 w 1296352"/>
              <a:gd name="connsiteY94" fmla="*/ 392431 h 421005"/>
              <a:gd name="connsiteX95" fmla="*/ 859155 w 1296352"/>
              <a:gd name="connsiteY95" fmla="*/ 392431 h 421005"/>
              <a:gd name="connsiteX96" fmla="*/ 859155 w 1296352"/>
              <a:gd name="connsiteY96" fmla="*/ 407671 h 421005"/>
              <a:gd name="connsiteX97" fmla="*/ 890588 w 1296352"/>
              <a:gd name="connsiteY97" fmla="*/ 407671 h 421005"/>
              <a:gd name="connsiteX98" fmla="*/ 890588 w 1296352"/>
              <a:gd name="connsiteY98" fmla="*/ 419101 h 421005"/>
              <a:gd name="connsiteX99" fmla="*/ 845820 w 1296352"/>
              <a:gd name="connsiteY99" fmla="*/ 419101 h 421005"/>
              <a:gd name="connsiteX100" fmla="*/ 713423 w 1296352"/>
              <a:gd name="connsiteY100" fmla="*/ 355283 h 421005"/>
              <a:gd name="connsiteX101" fmla="*/ 729615 w 1296352"/>
              <a:gd name="connsiteY101" fmla="*/ 355283 h 421005"/>
              <a:gd name="connsiteX102" fmla="*/ 753428 w 1296352"/>
              <a:gd name="connsiteY102" fmla="*/ 419101 h 421005"/>
              <a:gd name="connsiteX103" fmla="*/ 739140 w 1296352"/>
              <a:gd name="connsiteY103" fmla="*/ 419101 h 421005"/>
              <a:gd name="connsiteX104" fmla="*/ 734378 w 1296352"/>
              <a:gd name="connsiteY104" fmla="*/ 405766 h 421005"/>
              <a:gd name="connsiteX105" fmla="*/ 707708 w 1296352"/>
              <a:gd name="connsiteY105" fmla="*/ 405766 h 421005"/>
              <a:gd name="connsiteX106" fmla="*/ 702945 w 1296352"/>
              <a:gd name="connsiteY106" fmla="*/ 419101 h 421005"/>
              <a:gd name="connsiteX107" fmla="*/ 689610 w 1296352"/>
              <a:gd name="connsiteY107" fmla="*/ 419101 h 421005"/>
              <a:gd name="connsiteX108" fmla="*/ 617220 w 1296352"/>
              <a:gd name="connsiteY108" fmla="*/ 355283 h 421005"/>
              <a:gd name="connsiteX109" fmla="*/ 631508 w 1296352"/>
              <a:gd name="connsiteY109" fmla="*/ 355283 h 421005"/>
              <a:gd name="connsiteX110" fmla="*/ 645795 w 1296352"/>
              <a:gd name="connsiteY110" fmla="*/ 377191 h 421005"/>
              <a:gd name="connsiteX111" fmla="*/ 658178 w 1296352"/>
              <a:gd name="connsiteY111" fmla="*/ 397193 h 421005"/>
              <a:gd name="connsiteX112" fmla="*/ 658178 w 1296352"/>
              <a:gd name="connsiteY112" fmla="*/ 355283 h 421005"/>
              <a:gd name="connsiteX113" fmla="*/ 670560 w 1296352"/>
              <a:gd name="connsiteY113" fmla="*/ 355283 h 421005"/>
              <a:gd name="connsiteX114" fmla="*/ 670560 w 1296352"/>
              <a:gd name="connsiteY114" fmla="*/ 419101 h 421005"/>
              <a:gd name="connsiteX115" fmla="*/ 659130 w 1296352"/>
              <a:gd name="connsiteY115" fmla="*/ 419101 h 421005"/>
              <a:gd name="connsiteX116" fmla="*/ 643890 w 1296352"/>
              <a:gd name="connsiteY116" fmla="*/ 395288 h 421005"/>
              <a:gd name="connsiteX117" fmla="*/ 629603 w 1296352"/>
              <a:gd name="connsiteY117" fmla="*/ 373381 h 421005"/>
              <a:gd name="connsiteX118" fmla="*/ 629603 w 1296352"/>
              <a:gd name="connsiteY118" fmla="*/ 419101 h 421005"/>
              <a:gd name="connsiteX119" fmla="*/ 617220 w 1296352"/>
              <a:gd name="connsiteY119" fmla="*/ 419101 h 421005"/>
              <a:gd name="connsiteX120" fmla="*/ 559118 w 1296352"/>
              <a:gd name="connsiteY120" fmla="*/ 355283 h 421005"/>
              <a:gd name="connsiteX121" fmla="*/ 575310 w 1296352"/>
              <a:gd name="connsiteY121" fmla="*/ 355283 h 421005"/>
              <a:gd name="connsiteX122" fmla="*/ 599122 w 1296352"/>
              <a:gd name="connsiteY122" fmla="*/ 419101 h 421005"/>
              <a:gd name="connsiteX123" fmla="*/ 584835 w 1296352"/>
              <a:gd name="connsiteY123" fmla="*/ 419101 h 421005"/>
              <a:gd name="connsiteX124" fmla="*/ 580072 w 1296352"/>
              <a:gd name="connsiteY124" fmla="*/ 405766 h 421005"/>
              <a:gd name="connsiteX125" fmla="*/ 553403 w 1296352"/>
              <a:gd name="connsiteY125" fmla="*/ 405766 h 421005"/>
              <a:gd name="connsiteX126" fmla="*/ 548640 w 1296352"/>
              <a:gd name="connsiteY126" fmla="*/ 419101 h 421005"/>
              <a:gd name="connsiteX127" fmla="*/ 535305 w 1296352"/>
              <a:gd name="connsiteY127" fmla="*/ 419101 h 421005"/>
              <a:gd name="connsiteX128" fmla="*/ 338137 w 1296352"/>
              <a:gd name="connsiteY128" fmla="*/ 355283 h 421005"/>
              <a:gd name="connsiteX129" fmla="*/ 388619 w 1296352"/>
              <a:gd name="connsiteY129" fmla="*/ 355283 h 421005"/>
              <a:gd name="connsiteX130" fmla="*/ 388619 w 1296352"/>
              <a:gd name="connsiteY130" fmla="*/ 366713 h 421005"/>
              <a:gd name="connsiteX131" fmla="*/ 369569 w 1296352"/>
              <a:gd name="connsiteY131" fmla="*/ 366713 h 421005"/>
              <a:gd name="connsiteX132" fmla="*/ 369569 w 1296352"/>
              <a:gd name="connsiteY132" fmla="*/ 419101 h 421005"/>
              <a:gd name="connsiteX133" fmla="*/ 356234 w 1296352"/>
              <a:gd name="connsiteY133" fmla="*/ 419101 h 421005"/>
              <a:gd name="connsiteX134" fmla="*/ 356234 w 1296352"/>
              <a:gd name="connsiteY134" fmla="*/ 366713 h 421005"/>
              <a:gd name="connsiteX135" fmla="*/ 338137 w 1296352"/>
              <a:gd name="connsiteY135" fmla="*/ 366713 h 421005"/>
              <a:gd name="connsiteX136" fmla="*/ 274320 w 1296352"/>
              <a:gd name="connsiteY136" fmla="*/ 355283 h 421005"/>
              <a:gd name="connsiteX137" fmla="*/ 318135 w 1296352"/>
              <a:gd name="connsiteY137" fmla="*/ 355283 h 421005"/>
              <a:gd name="connsiteX138" fmla="*/ 318135 w 1296352"/>
              <a:gd name="connsiteY138" fmla="*/ 366713 h 421005"/>
              <a:gd name="connsiteX139" fmla="*/ 287655 w 1296352"/>
              <a:gd name="connsiteY139" fmla="*/ 366713 h 421005"/>
              <a:gd name="connsiteX140" fmla="*/ 287655 w 1296352"/>
              <a:gd name="connsiteY140" fmla="*/ 381001 h 421005"/>
              <a:gd name="connsiteX141" fmla="*/ 315278 w 1296352"/>
              <a:gd name="connsiteY141" fmla="*/ 381001 h 421005"/>
              <a:gd name="connsiteX142" fmla="*/ 315278 w 1296352"/>
              <a:gd name="connsiteY142" fmla="*/ 392431 h 421005"/>
              <a:gd name="connsiteX143" fmla="*/ 287655 w 1296352"/>
              <a:gd name="connsiteY143" fmla="*/ 392431 h 421005"/>
              <a:gd name="connsiteX144" fmla="*/ 287655 w 1296352"/>
              <a:gd name="connsiteY144" fmla="*/ 407671 h 421005"/>
              <a:gd name="connsiteX145" fmla="*/ 319088 w 1296352"/>
              <a:gd name="connsiteY145" fmla="*/ 407671 h 421005"/>
              <a:gd name="connsiteX146" fmla="*/ 319088 w 1296352"/>
              <a:gd name="connsiteY146" fmla="*/ 419101 h 421005"/>
              <a:gd name="connsiteX147" fmla="*/ 274320 w 1296352"/>
              <a:gd name="connsiteY147" fmla="*/ 419101 h 421005"/>
              <a:gd name="connsiteX148" fmla="*/ 92393 w 1296352"/>
              <a:gd name="connsiteY148" fmla="*/ 355283 h 421005"/>
              <a:gd name="connsiteX149" fmla="*/ 108585 w 1296352"/>
              <a:gd name="connsiteY149" fmla="*/ 355283 h 421005"/>
              <a:gd name="connsiteX150" fmla="*/ 132398 w 1296352"/>
              <a:gd name="connsiteY150" fmla="*/ 419101 h 421005"/>
              <a:gd name="connsiteX151" fmla="*/ 118110 w 1296352"/>
              <a:gd name="connsiteY151" fmla="*/ 419101 h 421005"/>
              <a:gd name="connsiteX152" fmla="*/ 113348 w 1296352"/>
              <a:gd name="connsiteY152" fmla="*/ 405766 h 421005"/>
              <a:gd name="connsiteX153" fmla="*/ 86678 w 1296352"/>
              <a:gd name="connsiteY153" fmla="*/ 405766 h 421005"/>
              <a:gd name="connsiteX154" fmla="*/ 81915 w 1296352"/>
              <a:gd name="connsiteY154" fmla="*/ 419101 h 421005"/>
              <a:gd name="connsiteX155" fmla="*/ 68580 w 1296352"/>
              <a:gd name="connsiteY155" fmla="*/ 419101 h 421005"/>
              <a:gd name="connsiteX156" fmla="*/ 797242 w 1296352"/>
              <a:gd name="connsiteY156" fmla="*/ 354330 h 421005"/>
              <a:gd name="connsiteX157" fmla="*/ 818197 w 1296352"/>
              <a:gd name="connsiteY157" fmla="*/ 360998 h 421005"/>
              <a:gd name="connsiteX158" fmla="*/ 810577 w 1296352"/>
              <a:gd name="connsiteY158" fmla="*/ 370523 h 421005"/>
              <a:gd name="connsiteX159" fmla="*/ 796290 w 1296352"/>
              <a:gd name="connsiteY159" fmla="*/ 365760 h 421005"/>
              <a:gd name="connsiteX160" fmla="*/ 778192 w 1296352"/>
              <a:gd name="connsiteY160" fmla="*/ 386715 h 421005"/>
              <a:gd name="connsiteX161" fmla="*/ 796290 w 1296352"/>
              <a:gd name="connsiteY161" fmla="*/ 408623 h 421005"/>
              <a:gd name="connsiteX162" fmla="*/ 806767 w 1296352"/>
              <a:gd name="connsiteY162" fmla="*/ 405765 h 421005"/>
              <a:gd name="connsiteX163" fmla="*/ 806767 w 1296352"/>
              <a:gd name="connsiteY163" fmla="*/ 393382 h 421005"/>
              <a:gd name="connsiteX164" fmla="*/ 792480 w 1296352"/>
              <a:gd name="connsiteY164" fmla="*/ 393382 h 421005"/>
              <a:gd name="connsiteX165" fmla="*/ 792480 w 1296352"/>
              <a:gd name="connsiteY165" fmla="*/ 381953 h 421005"/>
              <a:gd name="connsiteX166" fmla="*/ 820102 w 1296352"/>
              <a:gd name="connsiteY166" fmla="*/ 381953 h 421005"/>
              <a:gd name="connsiteX167" fmla="*/ 820102 w 1296352"/>
              <a:gd name="connsiteY167" fmla="*/ 382905 h 421005"/>
              <a:gd name="connsiteX168" fmla="*/ 820102 w 1296352"/>
              <a:gd name="connsiteY168" fmla="*/ 411480 h 421005"/>
              <a:gd name="connsiteX169" fmla="*/ 796290 w 1296352"/>
              <a:gd name="connsiteY169" fmla="*/ 421005 h 421005"/>
              <a:gd name="connsiteX170" fmla="*/ 764857 w 1296352"/>
              <a:gd name="connsiteY170" fmla="*/ 387668 h 421005"/>
              <a:gd name="connsiteX171" fmla="*/ 797242 w 1296352"/>
              <a:gd name="connsiteY171" fmla="*/ 354330 h 421005"/>
              <a:gd name="connsiteX172" fmla="*/ 232411 w 1296352"/>
              <a:gd name="connsiteY172" fmla="*/ 354330 h 421005"/>
              <a:gd name="connsiteX173" fmla="*/ 253366 w 1296352"/>
              <a:gd name="connsiteY173" fmla="*/ 360998 h 421005"/>
              <a:gd name="connsiteX174" fmla="*/ 246698 w 1296352"/>
              <a:gd name="connsiteY174" fmla="*/ 370523 h 421005"/>
              <a:gd name="connsiteX175" fmla="*/ 231458 w 1296352"/>
              <a:gd name="connsiteY175" fmla="*/ 365760 h 421005"/>
              <a:gd name="connsiteX176" fmla="*/ 220981 w 1296352"/>
              <a:gd name="connsiteY176" fmla="*/ 372428 h 421005"/>
              <a:gd name="connsiteX177" fmla="*/ 234316 w 1296352"/>
              <a:gd name="connsiteY177" fmla="*/ 381000 h 421005"/>
              <a:gd name="connsiteX178" fmla="*/ 254318 w 1296352"/>
              <a:gd name="connsiteY178" fmla="*/ 400050 h 421005"/>
              <a:gd name="connsiteX179" fmla="*/ 230506 w 1296352"/>
              <a:gd name="connsiteY179" fmla="*/ 420053 h 421005"/>
              <a:gd name="connsiteX180" fmla="*/ 206693 w 1296352"/>
              <a:gd name="connsiteY180" fmla="*/ 411480 h 421005"/>
              <a:gd name="connsiteX181" fmla="*/ 213361 w 1296352"/>
              <a:gd name="connsiteY181" fmla="*/ 401955 h 421005"/>
              <a:gd name="connsiteX182" fmla="*/ 231458 w 1296352"/>
              <a:gd name="connsiteY182" fmla="*/ 408623 h 421005"/>
              <a:gd name="connsiteX183" fmla="*/ 241936 w 1296352"/>
              <a:gd name="connsiteY183" fmla="*/ 401003 h 421005"/>
              <a:gd name="connsiteX184" fmla="*/ 229553 w 1296352"/>
              <a:gd name="connsiteY184" fmla="*/ 392430 h 421005"/>
              <a:gd name="connsiteX185" fmla="*/ 208598 w 1296352"/>
              <a:gd name="connsiteY185" fmla="*/ 373380 h 421005"/>
              <a:gd name="connsiteX186" fmla="*/ 232411 w 1296352"/>
              <a:gd name="connsiteY186" fmla="*/ 354330 h 421005"/>
              <a:gd name="connsiteX187" fmla="*/ 169545 w 1296352"/>
              <a:gd name="connsiteY187" fmla="*/ 354330 h 421005"/>
              <a:gd name="connsiteX188" fmla="*/ 190500 w 1296352"/>
              <a:gd name="connsiteY188" fmla="*/ 360998 h 421005"/>
              <a:gd name="connsiteX189" fmla="*/ 183833 w 1296352"/>
              <a:gd name="connsiteY189" fmla="*/ 370523 h 421005"/>
              <a:gd name="connsiteX190" fmla="*/ 168593 w 1296352"/>
              <a:gd name="connsiteY190" fmla="*/ 365760 h 421005"/>
              <a:gd name="connsiteX191" fmla="*/ 158116 w 1296352"/>
              <a:gd name="connsiteY191" fmla="*/ 372428 h 421005"/>
              <a:gd name="connsiteX192" fmla="*/ 171450 w 1296352"/>
              <a:gd name="connsiteY192" fmla="*/ 381000 h 421005"/>
              <a:gd name="connsiteX193" fmla="*/ 191453 w 1296352"/>
              <a:gd name="connsiteY193" fmla="*/ 400050 h 421005"/>
              <a:gd name="connsiteX194" fmla="*/ 167641 w 1296352"/>
              <a:gd name="connsiteY194" fmla="*/ 420053 h 421005"/>
              <a:gd name="connsiteX195" fmla="*/ 143828 w 1296352"/>
              <a:gd name="connsiteY195" fmla="*/ 411480 h 421005"/>
              <a:gd name="connsiteX196" fmla="*/ 150495 w 1296352"/>
              <a:gd name="connsiteY196" fmla="*/ 401955 h 421005"/>
              <a:gd name="connsiteX197" fmla="*/ 168593 w 1296352"/>
              <a:gd name="connsiteY197" fmla="*/ 408623 h 421005"/>
              <a:gd name="connsiteX198" fmla="*/ 179070 w 1296352"/>
              <a:gd name="connsiteY198" fmla="*/ 401003 h 421005"/>
              <a:gd name="connsiteX199" fmla="*/ 166688 w 1296352"/>
              <a:gd name="connsiteY199" fmla="*/ 392430 h 421005"/>
              <a:gd name="connsiteX200" fmla="*/ 145733 w 1296352"/>
              <a:gd name="connsiteY200" fmla="*/ 373380 h 421005"/>
              <a:gd name="connsiteX201" fmla="*/ 169545 w 1296352"/>
              <a:gd name="connsiteY201" fmla="*/ 354330 h 421005"/>
              <a:gd name="connsiteX202" fmla="*/ 367665 w 1296352"/>
              <a:gd name="connsiteY202" fmla="*/ 101918 h 421005"/>
              <a:gd name="connsiteX203" fmla="*/ 306705 w 1296352"/>
              <a:gd name="connsiteY203" fmla="*/ 162878 h 421005"/>
              <a:gd name="connsiteX204" fmla="*/ 367665 w 1296352"/>
              <a:gd name="connsiteY204" fmla="*/ 223838 h 421005"/>
              <a:gd name="connsiteX205" fmla="*/ 428625 w 1296352"/>
              <a:gd name="connsiteY205" fmla="*/ 162878 h 421005"/>
              <a:gd name="connsiteX206" fmla="*/ 367665 w 1296352"/>
              <a:gd name="connsiteY206" fmla="*/ 101918 h 421005"/>
              <a:gd name="connsiteX207" fmla="*/ 1190625 w 1296352"/>
              <a:gd name="connsiteY207" fmla="*/ 100966 h 421005"/>
              <a:gd name="connsiteX208" fmla="*/ 1129665 w 1296352"/>
              <a:gd name="connsiteY208" fmla="*/ 169546 h 421005"/>
              <a:gd name="connsiteX209" fmla="*/ 1183005 w 1296352"/>
              <a:gd name="connsiteY209" fmla="*/ 222886 h 421005"/>
              <a:gd name="connsiteX210" fmla="*/ 1251585 w 1296352"/>
              <a:gd name="connsiteY210" fmla="*/ 165736 h 421005"/>
              <a:gd name="connsiteX211" fmla="*/ 1251585 w 1296352"/>
              <a:gd name="connsiteY211" fmla="*/ 159068 h 421005"/>
              <a:gd name="connsiteX212" fmla="*/ 1190625 w 1296352"/>
              <a:gd name="connsiteY212" fmla="*/ 100966 h 421005"/>
              <a:gd name="connsiteX213" fmla="*/ 718185 w 1296352"/>
              <a:gd name="connsiteY213" fmla="*/ 100965 h 421005"/>
              <a:gd name="connsiteX214" fmla="*/ 657225 w 1296352"/>
              <a:gd name="connsiteY214" fmla="*/ 169545 h 421005"/>
              <a:gd name="connsiteX215" fmla="*/ 710565 w 1296352"/>
              <a:gd name="connsiteY215" fmla="*/ 222885 h 421005"/>
              <a:gd name="connsiteX216" fmla="*/ 779145 w 1296352"/>
              <a:gd name="connsiteY216" fmla="*/ 165735 h 421005"/>
              <a:gd name="connsiteX217" fmla="*/ 779145 w 1296352"/>
              <a:gd name="connsiteY217" fmla="*/ 159067 h 421005"/>
              <a:gd name="connsiteX218" fmla="*/ 718185 w 1296352"/>
              <a:gd name="connsiteY218" fmla="*/ 100965 h 421005"/>
              <a:gd name="connsiteX219" fmla="*/ 962546 w 1296352"/>
              <a:gd name="connsiteY219" fmla="*/ 96694 h 421005"/>
              <a:gd name="connsiteX220" fmla="*/ 939165 w 1296352"/>
              <a:gd name="connsiteY220" fmla="*/ 100966 h 421005"/>
              <a:gd name="connsiteX221" fmla="*/ 897255 w 1296352"/>
              <a:gd name="connsiteY221" fmla="*/ 159068 h 421005"/>
              <a:gd name="connsiteX222" fmla="*/ 1012508 w 1296352"/>
              <a:gd name="connsiteY222" fmla="*/ 127636 h 421005"/>
              <a:gd name="connsiteX223" fmla="*/ 962546 w 1296352"/>
              <a:gd name="connsiteY223" fmla="*/ 96694 h 421005"/>
              <a:gd name="connsiteX224" fmla="*/ 1182052 w 1296352"/>
              <a:gd name="connsiteY224" fmla="*/ 57151 h 421005"/>
              <a:gd name="connsiteX225" fmla="*/ 1296352 w 1296352"/>
              <a:gd name="connsiteY225" fmla="*/ 165736 h 421005"/>
              <a:gd name="connsiteX226" fmla="*/ 1296352 w 1296352"/>
              <a:gd name="connsiteY226" fmla="*/ 266701 h 421005"/>
              <a:gd name="connsiteX227" fmla="*/ 1255395 w 1296352"/>
              <a:gd name="connsiteY227" fmla="*/ 266701 h 421005"/>
              <a:gd name="connsiteX228" fmla="*/ 1255395 w 1296352"/>
              <a:gd name="connsiteY228" fmla="*/ 235268 h 421005"/>
              <a:gd name="connsiteX229" fmla="*/ 1189672 w 1296352"/>
              <a:gd name="connsiteY229" fmla="*/ 269558 h 421005"/>
              <a:gd name="connsiteX230" fmla="*/ 1083945 w 1296352"/>
              <a:gd name="connsiteY230" fmla="*/ 156211 h 421005"/>
              <a:gd name="connsiteX231" fmla="*/ 1182052 w 1296352"/>
              <a:gd name="connsiteY231" fmla="*/ 57151 h 421005"/>
              <a:gd name="connsiteX232" fmla="*/ 957263 w 1296352"/>
              <a:gd name="connsiteY232" fmla="*/ 57151 h 421005"/>
              <a:gd name="connsiteX233" fmla="*/ 1065847 w 1296352"/>
              <a:gd name="connsiteY233" fmla="*/ 152401 h 421005"/>
              <a:gd name="connsiteX234" fmla="*/ 906780 w 1296352"/>
              <a:gd name="connsiteY234" fmla="*/ 196216 h 421005"/>
              <a:gd name="connsiteX235" fmla="*/ 972502 w 1296352"/>
              <a:gd name="connsiteY235" fmla="*/ 227648 h 421005"/>
              <a:gd name="connsiteX236" fmla="*/ 1018222 w 1296352"/>
              <a:gd name="connsiteY236" fmla="*/ 192406 h 421005"/>
              <a:gd name="connsiteX237" fmla="*/ 1059180 w 1296352"/>
              <a:gd name="connsiteY237" fmla="*/ 204788 h 421005"/>
              <a:gd name="connsiteX238" fmla="*/ 960120 w 1296352"/>
              <a:gd name="connsiteY238" fmla="*/ 270511 h 421005"/>
              <a:gd name="connsiteX239" fmla="*/ 853440 w 1296352"/>
              <a:gd name="connsiteY239" fmla="*/ 164783 h 421005"/>
              <a:gd name="connsiteX240" fmla="*/ 957263 w 1296352"/>
              <a:gd name="connsiteY240" fmla="*/ 57151 h 421005"/>
              <a:gd name="connsiteX241" fmla="*/ 606742 w 1296352"/>
              <a:gd name="connsiteY241" fmla="*/ 56198 h 421005"/>
              <a:gd name="connsiteX242" fmla="*/ 606742 w 1296352"/>
              <a:gd name="connsiteY242" fmla="*/ 100013 h 421005"/>
              <a:gd name="connsiteX243" fmla="*/ 547688 w 1296352"/>
              <a:gd name="connsiteY243" fmla="*/ 165736 h 421005"/>
              <a:gd name="connsiteX244" fmla="*/ 547688 w 1296352"/>
              <a:gd name="connsiteY244" fmla="*/ 265748 h 421005"/>
              <a:gd name="connsiteX245" fmla="*/ 501015 w 1296352"/>
              <a:gd name="connsiteY245" fmla="*/ 265748 h 421005"/>
              <a:gd name="connsiteX246" fmla="*/ 501015 w 1296352"/>
              <a:gd name="connsiteY246" fmla="*/ 160021 h 421005"/>
              <a:gd name="connsiteX247" fmla="*/ 501015 w 1296352"/>
              <a:gd name="connsiteY247" fmla="*/ 62866 h 421005"/>
              <a:gd name="connsiteX248" fmla="*/ 546735 w 1296352"/>
              <a:gd name="connsiteY248" fmla="*/ 62866 h 421005"/>
              <a:gd name="connsiteX249" fmla="*/ 546735 w 1296352"/>
              <a:gd name="connsiteY249" fmla="*/ 86678 h 421005"/>
              <a:gd name="connsiteX250" fmla="*/ 606742 w 1296352"/>
              <a:gd name="connsiteY250" fmla="*/ 56198 h 421005"/>
              <a:gd name="connsiteX251" fmla="*/ 367665 w 1296352"/>
              <a:gd name="connsiteY251" fmla="*/ 56198 h 421005"/>
              <a:gd name="connsiteX252" fmla="*/ 474345 w 1296352"/>
              <a:gd name="connsiteY252" fmla="*/ 162878 h 421005"/>
              <a:gd name="connsiteX253" fmla="*/ 367665 w 1296352"/>
              <a:gd name="connsiteY253" fmla="*/ 269558 h 421005"/>
              <a:gd name="connsiteX254" fmla="*/ 260985 w 1296352"/>
              <a:gd name="connsiteY254" fmla="*/ 162878 h 421005"/>
              <a:gd name="connsiteX255" fmla="*/ 367665 w 1296352"/>
              <a:gd name="connsiteY255" fmla="*/ 56198 h 421005"/>
              <a:gd name="connsiteX256" fmla="*/ 0 w 1296352"/>
              <a:gd name="connsiteY256" fmla="*/ 20956 h 421005"/>
              <a:gd name="connsiteX257" fmla="*/ 47625 w 1296352"/>
              <a:gd name="connsiteY257" fmla="*/ 20956 h 421005"/>
              <a:gd name="connsiteX258" fmla="*/ 186690 w 1296352"/>
              <a:gd name="connsiteY258" fmla="*/ 184786 h 421005"/>
              <a:gd name="connsiteX259" fmla="*/ 186690 w 1296352"/>
              <a:gd name="connsiteY259" fmla="*/ 20956 h 421005"/>
              <a:gd name="connsiteX260" fmla="*/ 233363 w 1296352"/>
              <a:gd name="connsiteY260" fmla="*/ 20956 h 421005"/>
              <a:gd name="connsiteX261" fmla="*/ 233363 w 1296352"/>
              <a:gd name="connsiteY261" fmla="*/ 266701 h 421005"/>
              <a:gd name="connsiteX262" fmla="*/ 190500 w 1296352"/>
              <a:gd name="connsiteY262" fmla="*/ 266701 h 421005"/>
              <a:gd name="connsiteX263" fmla="*/ 49530 w 1296352"/>
              <a:gd name="connsiteY263" fmla="*/ 101918 h 421005"/>
              <a:gd name="connsiteX264" fmla="*/ 49530 w 1296352"/>
              <a:gd name="connsiteY264" fmla="*/ 265748 h 421005"/>
              <a:gd name="connsiteX265" fmla="*/ 0 w 1296352"/>
              <a:gd name="connsiteY265" fmla="*/ 265748 h 421005"/>
              <a:gd name="connsiteX266" fmla="*/ 781050 w 1296352"/>
              <a:gd name="connsiteY266" fmla="*/ 0 h 421005"/>
              <a:gd name="connsiteX267" fmla="*/ 824865 w 1296352"/>
              <a:gd name="connsiteY267" fmla="*/ 0 h 421005"/>
              <a:gd name="connsiteX268" fmla="*/ 824865 w 1296352"/>
              <a:gd name="connsiteY268" fmla="*/ 160973 h 421005"/>
              <a:gd name="connsiteX269" fmla="*/ 824865 w 1296352"/>
              <a:gd name="connsiteY269" fmla="*/ 162878 h 421005"/>
              <a:gd name="connsiteX270" fmla="*/ 824865 w 1296352"/>
              <a:gd name="connsiteY270" fmla="*/ 164783 h 421005"/>
              <a:gd name="connsiteX271" fmla="*/ 824865 w 1296352"/>
              <a:gd name="connsiteY271" fmla="*/ 267653 h 421005"/>
              <a:gd name="connsiteX272" fmla="*/ 783908 w 1296352"/>
              <a:gd name="connsiteY272" fmla="*/ 267653 h 421005"/>
              <a:gd name="connsiteX273" fmla="*/ 783908 w 1296352"/>
              <a:gd name="connsiteY273" fmla="*/ 240030 h 421005"/>
              <a:gd name="connsiteX274" fmla="*/ 718185 w 1296352"/>
              <a:gd name="connsiteY274" fmla="*/ 270510 h 421005"/>
              <a:gd name="connsiteX275" fmla="*/ 612458 w 1296352"/>
              <a:gd name="connsiteY275" fmla="*/ 157163 h 421005"/>
              <a:gd name="connsiteX276" fmla="*/ 710565 w 1296352"/>
              <a:gd name="connsiteY276" fmla="*/ 58103 h 421005"/>
              <a:gd name="connsiteX277" fmla="*/ 781050 w 1296352"/>
              <a:gd name="connsiteY277" fmla="*/ 80010 h 42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</a:cxnLst>
            <a:rect l="l" t="t" r="r" b="b"/>
            <a:pathLst>
              <a:path w="1296352" h="421005">
                <a:moveTo>
                  <a:pt x="720090" y="368618"/>
                </a:moveTo>
                <a:cubicBezTo>
                  <a:pt x="717233" y="376238"/>
                  <a:pt x="714375" y="384811"/>
                  <a:pt x="711518" y="392431"/>
                </a:cubicBezTo>
                <a:lnTo>
                  <a:pt x="710565" y="394336"/>
                </a:lnTo>
                <a:lnTo>
                  <a:pt x="729615" y="394336"/>
                </a:lnTo>
                <a:lnTo>
                  <a:pt x="728663" y="392431"/>
                </a:lnTo>
                <a:cubicBezTo>
                  <a:pt x="725805" y="384811"/>
                  <a:pt x="722948" y="376238"/>
                  <a:pt x="720090" y="368618"/>
                </a:cubicBezTo>
                <a:close/>
                <a:moveTo>
                  <a:pt x="565785" y="368618"/>
                </a:moveTo>
                <a:cubicBezTo>
                  <a:pt x="562928" y="376238"/>
                  <a:pt x="560070" y="384811"/>
                  <a:pt x="557213" y="392431"/>
                </a:cubicBezTo>
                <a:lnTo>
                  <a:pt x="556260" y="394336"/>
                </a:lnTo>
                <a:lnTo>
                  <a:pt x="575310" y="394336"/>
                </a:lnTo>
                <a:lnTo>
                  <a:pt x="574357" y="392431"/>
                </a:lnTo>
                <a:cubicBezTo>
                  <a:pt x="571500" y="384811"/>
                  <a:pt x="568643" y="376238"/>
                  <a:pt x="565785" y="368618"/>
                </a:cubicBezTo>
                <a:close/>
                <a:moveTo>
                  <a:pt x="100012" y="368618"/>
                </a:moveTo>
                <a:cubicBezTo>
                  <a:pt x="97155" y="376238"/>
                  <a:pt x="94298" y="384811"/>
                  <a:pt x="91440" y="392431"/>
                </a:cubicBezTo>
                <a:lnTo>
                  <a:pt x="90487" y="394336"/>
                </a:lnTo>
                <a:lnTo>
                  <a:pt x="109537" y="394336"/>
                </a:lnTo>
                <a:lnTo>
                  <a:pt x="108585" y="392431"/>
                </a:lnTo>
                <a:cubicBezTo>
                  <a:pt x="105728" y="384811"/>
                  <a:pt x="102870" y="376238"/>
                  <a:pt x="100012" y="368618"/>
                </a:cubicBezTo>
                <a:close/>
                <a:moveTo>
                  <a:pt x="915353" y="356236"/>
                </a:moveTo>
                <a:lnTo>
                  <a:pt x="933451" y="356236"/>
                </a:lnTo>
                <a:lnTo>
                  <a:pt x="942976" y="381953"/>
                </a:lnTo>
                <a:cubicBezTo>
                  <a:pt x="945833" y="388621"/>
                  <a:pt x="947738" y="395288"/>
                  <a:pt x="950596" y="401956"/>
                </a:cubicBezTo>
                <a:cubicBezTo>
                  <a:pt x="952501" y="395288"/>
                  <a:pt x="955358" y="388621"/>
                  <a:pt x="958215" y="381953"/>
                </a:cubicBezTo>
                <a:lnTo>
                  <a:pt x="967740" y="356236"/>
                </a:lnTo>
                <a:lnTo>
                  <a:pt x="986790" y="356236"/>
                </a:lnTo>
                <a:lnTo>
                  <a:pt x="986790" y="419101"/>
                </a:lnTo>
                <a:lnTo>
                  <a:pt x="973455" y="419101"/>
                </a:lnTo>
                <a:lnTo>
                  <a:pt x="973455" y="396241"/>
                </a:lnTo>
                <a:cubicBezTo>
                  <a:pt x="973455" y="387668"/>
                  <a:pt x="973455" y="379096"/>
                  <a:pt x="973455" y="370523"/>
                </a:cubicBezTo>
                <a:cubicBezTo>
                  <a:pt x="970598" y="379096"/>
                  <a:pt x="967740" y="387668"/>
                  <a:pt x="963930" y="396241"/>
                </a:cubicBezTo>
                <a:lnTo>
                  <a:pt x="955358" y="419101"/>
                </a:lnTo>
                <a:lnTo>
                  <a:pt x="945833" y="419101"/>
                </a:lnTo>
                <a:lnTo>
                  <a:pt x="937260" y="396241"/>
                </a:lnTo>
                <a:cubicBezTo>
                  <a:pt x="934403" y="387668"/>
                  <a:pt x="930593" y="380048"/>
                  <a:pt x="927735" y="371476"/>
                </a:cubicBezTo>
                <a:cubicBezTo>
                  <a:pt x="927735" y="380048"/>
                  <a:pt x="927735" y="388621"/>
                  <a:pt x="927735" y="397193"/>
                </a:cubicBezTo>
                <a:lnTo>
                  <a:pt x="927735" y="420053"/>
                </a:lnTo>
                <a:lnTo>
                  <a:pt x="915353" y="420053"/>
                </a:lnTo>
                <a:close/>
                <a:moveTo>
                  <a:pt x="445770" y="356236"/>
                </a:moveTo>
                <a:lnTo>
                  <a:pt x="463868" y="356236"/>
                </a:lnTo>
                <a:lnTo>
                  <a:pt x="473393" y="381953"/>
                </a:lnTo>
                <a:cubicBezTo>
                  <a:pt x="476250" y="388621"/>
                  <a:pt x="478155" y="395288"/>
                  <a:pt x="481013" y="401956"/>
                </a:cubicBezTo>
                <a:cubicBezTo>
                  <a:pt x="482918" y="395288"/>
                  <a:pt x="485775" y="388621"/>
                  <a:pt x="488633" y="381953"/>
                </a:cubicBezTo>
                <a:lnTo>
                  <a:pt x="498158" y="356236"/>
                </a:lnTo>
                <a:lnTo>
                  <a:pt x="516255" y="356236"/>
                </a:lnTo>
                <a:lnTo>
                  <a:pt x="516255" y="419101"/>
                </a:lnTo>
                <a:lnTo>
                  <a:pt x="502920" y="419101"/>
                </a:lnTo>
                <a:lnTo>
                  <a:pt x="502920" y="396241"/>
                </a:lnTo>
                <a:cubicBezTo>
                  <a:pt x="502920" y="387668"/>
                  <a:pt x="502920" y="379096"/>
                  <a:pt x="502920" y="370523"/>
                </a:cubicBezTo>
                <a:cubicBezTo>
                  <a:pt x="500063" y="379096"/>
                  <a:pt x="497205" y="387668"/>
                  <a:pt x="493395" y="396241"/>
                </a:cubicBezTo>
                <a:lnTo>
                  <a:pt x="484822" y="419101"/>
                </a:lnTo>
                <a:lnTo>
                  <a:pt x="475297" y="419101"/>
                </a:lnTo>
                <a:lnTo>
                  <a:pt x="467678" y="396241"/>
                </a:lnTo>
                <a:cubicBezTo>
                  <a:pt x="464820" y="387668"/>
                  <a:pt x="461010" y="380048"/>
                  <a:pt x="458153" y="371476"/>
                </a:cubicBezTo>
                <a:cubicBezTo>
                  <a:pt x="458153" y="380048"/>
                  <a:pt x="458153" y="388621"/>
                  <a:pt x="458153" y="397193"/>
                </a:cubicBezTo>
                <a:lnTo>
                  <a:pt x="458153" y="420053"/>
                </a:lnTo>
                <a:lnTo>
                  <a:pt x="445770" y="420053"/>
                </a:lnTo>
                <a:close/>
                <a:moveTo>
                  <a:pt x="1158240" y="355283"/>
                </a:moveTo>
                <a:lnTo>
                  <a:pt x="1208723" y="355283"/>
                </a:lnTo>
                <a:lnTo>
                  <a:pt x="1208723" y="366713"/>
                </a:lnTo>
                <a:lnTo>
                  <a:pt x="1189673" y="366713"/>
                </a:lnTo>
                <a:lnTo>
                  <a:pt x="1189673" y="419101"/>
                </a:lnTo>
                <a:lnTo>
                  <a:pt x="1176338" y="419101"/>
                </a:lnTo>
                <a:lnTo>
                  <a:pt x="1176338" y="366713"/>
                </a:lnTo>
                <a:lnTo>
                  <a:pt x="1158240" y="366713"/>
                </a:lnTo>
                <a:close/>
                <a:moveTo>
                  <a:pt x="1084897" y="355283"/>
                </a:moveTo>
                <a:lnTo>
                  <a:pt x="1099185" y="355283"/>
                </a:lnTo>
                <a:lnTo>
                  <a:pt x="1113472" y="377191"/>
                </a:lnTo>
                <a:cubicBezTo>
                  <a:pt x="1119187" y="384811"/>
                  <a:pt x="1122997" y="391478"/>
                  <a:pt x="1125855" y="397193"/>
                </a:cubicBezTo>
                <a:lnTo>
                  <a:pt x="1125855" y="355283"/>
                </a:lnTo>
                <a:lnTo>
                  <a:pt x="1138237" y="355283"/>
                </a:lnTo>
                <a:lnTo>
                  <a:pt x="1138237" y="419101"/>
                </a:lnTo>
                <a:lnTo>
                  <a:pt x="1126807" y="419101"/>
                </a:lnTo>
                <a:lnTo>
                  <a:pt x="1111567" y="395288"/>
                </a:lnTo>
                <a:cubicBezTo>
                  <a:pt x="1104900" y="385763"/>
                  <a:pt x="1101089" y="379096"/>
                  <a:pt x="1097280" y="373381"/>
                </a:cubicBezTo>
                <a:lnTo>
                  <a:pt x="1097280" y="419101"/>
                </a:lnTo>
                <a:lnTo>
                  <a:pt x="1084897" y="419101"/>
                </a:lnTo>
                <a:close/>
                <a:moveTo>
                  <a:pt x="1013460" y="355283"/>
                </a:moveTo>
                <a:lnTo>
                  <a:pt x="1057275" y="355283"/>
                </a:lnTo>
                <a:lnTo>
                  <a:pt x="1057275" y="366713"/>
                </a:lnTo>
                <a:lnTo>
                  <a:pt x="1026795" y="366713"/>
                </a:lnTo>
                <a:lnTo>
                  <a:pt x="1026795" y="381001"/>
                </a:lnTo>
                <a:lnTo>
                  <a:pt x="1054418" y="381001"/>
                </a:lnTo>
                <a:lnTo>
                  <a:pt x="1054418" y="392431"/>
                </a:lnTo>
                <a:lnTo>
                  <a:pt x="1026795" y="392431"/>
                </a:lnTo>
                <a:lnTo>
                  <a:pt x="1026795" y="407671"/>
                </a:lnTo>
                <a:lnTo>
                  <a:pt x="1058227" y="407671"/>
                </a:lnTo>
                <a:lnTo>
                  <a:pt x="1058227" y="419101"/>
                </a:lnTo>
                <a:lnTo>
                  <a:pt x="1013460" y="419101"/>
                </a:lnTo>
                <a:close/>
                <a:moveTo>
                  <a:pt x="845820" y="355283"/>
                </a:moveTo>
                <a:lnTo>
                  <a:pt x="889635" y="355283"/>
                </a:lnTo>
                <a:lnTo>
                  <a:pt x="889635" y="366713"/>
                </a:lnTo>
                <a:lnTo>
                  <a:pt x="859155" y="366713"/>
                </a:lnTo>
                <a:lnTo>
                  <a:pt x="859155" y="381001"/>
                </a:lnTo>
                <a:lnTo>
                  <a:pt x="886778" y="381001"/>
                </a:lnTo>
                <a:lnTo>
                  <a:pt x="886778" y="392431"/>
                </a:lnTo>
                <a:lnTo>
                  <a:pt x="859155" y="392431"/>
                </a:lnTo>
                <a:lnTo>
                  <a:pt x="859155" y="407671"/>
                </a:lnTo>
                <a:lnTo>
                  <a:pt x="890588" y="407671"/>
                </a:lnTo>
                <a:lnTo>
                  <a:pt x="890588" y="419101"/>
                </a:lnTo>
                <a:lnTo>
                  <a:pt x="845820" y="419101"/>
                </a:lnTo>
                <a:close/>
                <a:moveTo>
                  <a:pt x="713423" y="355283"/>
                </a:moveTo>
                <a:lnTo>
                  <a:pt x="729615" y="355283"/>
                </a:lnTo>
                <a:lnTo>
                  <a:pt x="753428" y="419101"/>
                </a:lnTo>
                <a:lnTo>
                  <a:pt x="739140" y="419101"/>
                </a:lnTo>
                <a:lnTo>
                  <a:pt x="734378" y="405766"/>
                </a:lnTo>
                <a:lnTo>
                  <a:pt x="707708" y="405766"/>
                </a:lnTo>
                <a:lnTo>
                  <a:pt x="702945" y="419101"/>
                </a:lnTo>
                <a:lnTo>
                  <a:pt x="689610" y="419101"/>
                </a:lnTo>
                <a:close/>
                <a:moveTo>
                  <a:pt x="617220" y="355283"/>
                </a:moveTo>
                <a:lnTo>
                  <a:pt x="631508" y="355283"/>
                </a:lnTo>
                <a:lnTo>
                  <a:pt x="645795" y="377191"/>
                </a:lnTo>
                <a:cubicBezTo>
                  <a:pt x="651510" y="384811"/>
                  <a:pt x="655320" y="391478"/>
                  <a:pt x="658178" y="397193"/>
                </a:cubicBezTo>
                <a:lnTo>
                  <a:pt x="658178" y="355283"/>
                </a:lnTo>
                <a:lnTo>
                  <a:pt x="670560" y="355283"/>
                </a:lnTo>
                <a:lnTo>
                  <a:pt x="670560" y="419101"/>
                </a:lnTo>
                <a:lnTo>
                  <a:pt x="659130" y="419101"/>
                </a:lnTo>
                <a:lnTo>
                  <a:pt x="643890" y="395288"/>
                </a:lnTo>
                <a:cubicBezTo>
                  <a:pt x="637222" y="385763"/>
                  <a:pt x="633413" y="379096"/>
                  <a:pt x="629603" y="373381"/>
                </a:cubicBezTo>
                <a:lnTo>
                  <a:pt x="629603" y="419101"/>
                </a:lnTo>
                <a:lnTo>
                  <a:pt x="617220" y="419101"/>
                </a:lnTo>
                <a:close/>
                <a:moveTo>
                  <a:pt x="559118" y="355283"/>
                </a:moveTo>
                <a:lnTo>
                  <a:pt x="575310" y="355283"/>
                </a:lnTo>
                <a:lnTo>
                  <a:pt x="599122" y="419101"/>
                </a:lnTo>
                <a:lnTo>
                  <a:pt x="584835" y="419101"/>
                </a:lnTo>
                <a:lnTo>
                  <a:pt x="580072" y="405766"/>
                </a:lnTo>
                <a:lnTo>
                  <a:pt x="553403" y="405766"/>
                </a:lnTo>
                <a:lnTo>
                  <a:pt x="548640" y="419101"/>
                </a:lnTo>
                <a:lnTo>
                  <a:pt x="535305" y="419101"/>
                </a:lnTo>
                <a:close/>
                <a:moveTo>
                  <a:pt x="338137" y="355283"/>
                </a:moveTo>
                <a:lnTo>
                  <a:pt x="388619" y="355283"/>
                </a:lnTo>
                <a:lnTo>
                  <a:pt x="388619" y="366713"/>
                </a:lnTo>
                <a:lnTo>
                  <a:pt x="369569" y="366713"/>
                </a:lnTo>
                <a:lnTo>
                  <a:pt x="369569" y="419101"/>
                </a:lnTo>
                <a:lnTo>
                  <a:pt x="356234" y="419101"/>
                </a:lnTo>
                <a:lnTo>
                  <a:pt x="356234" y="366713"/>
                </a:lnTo>
                <a:lnTo>
                  <a:pt x="338137" y="366713"/>
                </a:lnTo>
                <a:close/>
                <a:moveTo>
                  <a:pt x="274320" y="355283"/>
                </a:moveTo>
                <a:lnTo>
                  <a:pt x="318135" y="355283"/>
                </a:lnTo>
                <a:lnTo>
                  <a:pt x="318135" y="366713"/>
                </a:lnTo>
                <a:lnTo>
                  <a:pt x="287655" y="366713"/>
                </a:lnTo>
                <a:lnTo>
                  <a:pt x="287655" y="381001"/>
                </a:lnTo>
                <a:lnTo>
                  <a:pt x="315278" y="381001"/>
                </a:lnTo>
                <a:lnTo>
                  <a:pt x="315278" y="392431"/>
                </a:lnTo>
                <a:lnTo>
                  <a:pt x="287655" y="392431"/>
                </a:lnTo>
                <a:lnTo>
                  <a:pt x="287655" y="407671"/>
                </a:lnTo>
                <a:lnTo>
                  <a:pt x="319088" y="407671"/>
                </a:lnTo>
                <a:lnTo>
                  <a:pt x="319088" y="419101"/>
                </a:lnTo>
                <a:lnTo>
                  <a:pt x="274320" y="419101"/>
                </a:lnTo>
                <a:close/>
                <a:moveTo>
                  <a:pt x="92393" y="355283"/>
                </a:moveTo>
                <a:lnTo>
                  <a:pt x="108585" y="355283"/>
                </a:lnTo>
                <a:lnTo>
                  <a:pt x="132398" y="419101"/>
                </a:lnTo>
                <a:lnTo>
                  <a:pt x="118110" y="419101"/>
                </a:lnTo>
                <a:lnTo>
                  <a:pt x="113348" y="405766"/>
                </a:lnTo>
                <a:lnTo>
                  <a:pt x="86678" y="405766"/>
                </a:lnTo>
                <a:lnTo>
                  <a:pt x="81915" y="419101"/>
                </a:lnTo>
                <a:lnTo>
                  <a:pt x="68580" y="419101"/>
                </a:lnTo>
                <a:close/>
                <a:moveTo>
                  <a:pt x="797242" y="354330"/>
                </a:moveTo>
                <a:cubicBezTo>
                  <a:pt x="805815" y="354330"/>
                  <a:pt x="813434" y="357188"/>
                  <a:pt x="818197" y="360998"/>
                </a:cubicBezTo>
                <a:lnTo>
                  <a:pt x="810577" y="370523"/>
                </a:lnTo>
                <a:cubicBezTo>
                  <a:pt x="807720" y="367665"/>
                  <a:pt x="802957" y="365760"/>
                  <a:pt x="796290" y="365760"/>
                </a:cubicBezTo>
                <a:cubicBezTo>
                  <a:pt x="782955" y="365760"/>
                  <a:pt x="778192" y="376238"/>
                  <a:pt x="778192" y="386715"/>
                </a:cubicBezTo>
                <a:cubicBezTo>
                  <a:pt x="778192" y="397193"/>
                  <a:pt x="782002" y="408623"/>
                  <a:pt x="796290" y="408623"/>
                </a:cubicBezTo>
                <a:cubicBezTo>
                  <a:pt x="801052" y="408623"/>
                  <a:pt x="803909" y="407670"/>
                  <a:pt x="806767" y="405765"/>
                </a:cubicBezTo>
                <a:lnTo>
                  <a:pt x="806767" y="393382"/>
                </a:lnTo>
                <a:lnTo>
                  <a:pt x="792480" y="393382"/>
                </a:lnTo>
                <a:lnTo>
                  <a:pt x="792480" y="381953"/>
                </a:lnTo>
                <a:lnTo>
                  <a:pt x="820102" y="381953"/>
                </a:lnTo>
                <a:lnTo>
                  <a:pt x="820102" y="382905"/>
                </a:lnTo>
                <a:lnTo>
                  <a:pt x="820102" y="411480"/>
                </a:lnTo>
                <a:cubicBezTo>
                  <a:pt x="815340" y="417195"/>
                  <a:pt x="806767" y="421005"/>
                  <a:pt x="796290" y="421005"/>
                </a:cubicBezTo>
                <a:cubicBezTo>
                  <a:pt x="777240" y="421005"/>
                  <a:pt x="764857" y="409575"/>
                  <a:pt x="764857" y="387668"/>
                </a:cubicBezTo>
                <a:cubicBezTo>
                  <a:pt x="764857" y="365760"/>
                  <a:pt x="778192" y="354330"/>
                  <a:pt x="797242" y="354330"/>
                </a:cubicBezTo>
                <a:close/>
                <a:moveTo>
                  <a:pt x="232411" y="354330"/>
                </a:moveTo>
                <a:cubicBezTo>
                  <a:pt x="241936" y="354330"/>
                  <a:pt x="249556" y="357188"/>
                  <a:pt x="253366" y="360998"/>
                </a:cubicBezTo>
                <a:lnTo>
                  <a:pt x="246698" y="370523"/>
                </a:lnTo>
                <a:cubicBezTo>
                  <a:pt x="242888" y="366713"/>
                  <a:pt x="237173" y="365760"/>
                  <a:pt x="231458" y="365760"/>
                </a:cubicBezTo>
                <a:cubicBezTo>
                  <a:pt x="224791" y="365760"/>
                  <a:pt x="220981" y="368618"/>
                  <a:pt x="220981" y="372428"/>
                </a:cubicBezTo>
                <a:cubicBezTo>
                  <a:pt x="220981" y="376238"/>
                  <a:pt x="224791" y="378143"/>
                  <a:pt x="234316" y="381000"/>
                </a:cubicBezTo>
                <a:cubicBezTo>
                  <a:pt x="247650" y="384810"/>
                  <a:pt x="254318" y="390525"/>
                  <a:pt x="254318" y="400050"/>
                </a:cubicBezTo>
                <a:cubicBezTo>
                  <a:pt x="254318" y="411480"/>
                  <a:pt x="245745" y="420053"/>
                  <a:pt x="230506" y="420053"/>
                </a:cubicBezTo>
                <a:cubicBezTo>
                  <a:pt x="220981" y="420053"/>
                  <a:pt x="211456" y="416243"/>
                  <a:pt x="206693" y="411480"/>
                </a:cubicBezTo>
                <a:lnTo>
                  <a:pt x="213361" y="401955"/>
                </a:lnTo>
                <a:cubicBezTo>
                  <a:pt x="216218" y="404813"/>
                  <a:pt x="222886" y="408623"/>
                  <a:pt x="231458" y="408623"/>
                </a:cubicBezTo>
                <a:cubicBezTo>
                  <a:pt x="238125" y="408623"/>
                  <a:pt x="241936" y="406718"/>
                  <a:pt x="241936" y="401003"/>
                </a:cubicBezTo>
                <a:cubicBezTo>
                  <a:pt x="241936" y="396240"/>
                  <a:pt x="237173" y="394335"/>
                  <a:pt x="229553" y="392430"/>
                </a:cubicBezTo>
                <a:cubicBezTo>
                  <a:pt x="215266" y="388620"/>
                  <a:pt x="208598" y="383857"/>
                  <a:pt x="208598" y="373380"/>
                </a:cubicBezTo>
                <a:cubicBezTo>
                  <a:pt x="208598" y="362903"/>
                  <a:pt x="216218" y="354330"/>
                  <a:pt x="232411" y="354330"/>
                </a:cubicBezTo>
                <a:close/>
                <a:moveTo>
                  <a:pt x="169545" y="354330"/>
                </a:moveTo>
                <a:cubicBezTo>
                  <a:pt x="179070" y="354330"/>
                  <a:pt x="186691" y="357188"/>
                  <a:pt x="190500" y="360998"/>
                </a:cubicBezTo>
                <a:lnTo>
                  <a:pt x="183833" y="370523"/>
                </a:lnTo>
                <a:cubicBezTo>
                  <a:pt x="180023" y="366713"/>
                  <a:pt x="174308" y="365760"/>
                  <a:pt x="168593" y="365760"/>
                </a:cubicBezTo>
                <a:cubicBezTo>
                  <a:pt x="161925" y="365760"/>
                  <a:pt x="158116" y="368618"/>
                  <a:pt x="158116" y="372428"/>
                </a:cubicBezTo>
                <a:cubicBezTo>
                  <a:pt x="158116" y="376238"/>
                  <a:pt x="161925" y="378143"/>
                  <a:pt x="171450" y="381000"/>
                </a:cubicBezTo>
                <a:cubicBezTo>
                  <a:pt x="184785" y="384810"/>
                  <a:pt x="191453" y="390525"/>
                  <a:pt x="191453" y="400050"/>
                </a:cubicBezTo>
                <a:cubicBezTo>
                  <a:pt x="191453" y="411480"/>
                  <a:pt x="182880" y="420053"/>
                  <a:pt x="167641" y="420053"/>
                </a:cubicBezTo>
                <a:cubicBezTo>
                  <a:pt x="158116" y="420053"/>
                  <a:pt x="148591" y="416243"/>
                  <a:pt x="143828" y="411480"/>
                </a:cubicBezTo>
                <a:lnTo>
                  <a:pt x="150495" y="401955"/>
                </a:lnTo>
                <a:cubicBezTo>
                  <a:pt x="153353" y="404813"/>
                  <a:pt x="160020" y="408623"/>
                  <a:pt x="168593" y="408623"/>
                </a:cubicBezTo>
                <a:cubicBezTo>
                  <a:pt x="175260" y="408623"/>
                  <a:pt x="179070" y="406718"/>
                  <a:pt x="179070" y="401003"/>
                </a:cubicBezTo>
                <a:cubicBezTo>
                  <a:pt x="179070" y="396240"/>
                  <a:pt x="174308" y="394335"/>
                  <a:pt x="166688" y="392430"/>
                </a:cubicBezTo>
                <a:cubicBezTo>
                  <a:pt x="152400" y="388620"/>
                  <a:pt x="145733" y="383857"/>
                  <a:pt x="145733" y="373380"/>
                </a:cubicBezTo>
                <a:cubicBezTo>
                  <a:pt x="145733" y="362903"/>
                  <a:pt x="153353" y="354330"/>
                  <a:pt x="169545" y="354330"/>
                </a:cubicBezTo>
                <a:close/>
                <a:moveTo>
                  <a:pt x="367665" y="101918"/>
                </a:moveTo>
                <a:cubicBezTo>
                  <a:pt x="334328" y="101918"/>
                  <a:pt x="306705" y="129541"/>
                  <a:pt x="306705" y="162878"/>
                </a:cubicBezTo>
                <a:cubicBezTo>
                  <a:pt x="306705" y="196216"/>
                  <a:pt x="334328" y="223838"/>
                  <a:pt x="367665" y="223838"/>
                </a:cubicBezTo>
                <a:cubicBezTo>
                  <a:pt x="401003" y="223838"/>
                  <a:pt x="428625" y="197168"/>
                  <a:pt x="428625" y="162878"/>
                </a:cubicBezTo>
                <a:cubicBezTo>
                  <a:pt x="428625" y="129541"/>
                  <a:pt x="401003" y="101918"/>
                  <a:pt x="367665" y="101918"/>
                </a:cubicBezTo>
                <a:close/>
                <a:moveTo>
                  <a:pt x="1190625" y="100966"/>
                </a:moveTo>
                <a:cubicBezTo>
                  <a:pt x="1154430" y="100966"/>
                  <a:pt x="1125855" y="132398"/>
                  <a:pt x="1129665" y="169546"/>
                </a:cubicBezTo>
                <a:cubicBezTo>
                  <a:pt x="1133475" y="197168"/>
                  <a:pt x="1155382" y="219076"/>
                  <a:pt x="1183005" y="222886"/>
                </a:cubicBezTo>
                <a:cubicBezTo>
                  <a:pt x="1219200" y="227648"/>
                  <a:pt x="1249680" y="200978"/>
                  <a:pt x="1251585" y="165736"/>
                </a:cubicBezTo>
                <a:lnTo>
                  <a:pt x="1251585" y="159068"/>
                </a:lnTo>
                <a:cubicBezTo>
                  <a:pt x="1249680" y="126683"/>
                  <a:pt x="1223010" y="100966"/>
                  <a:pt x="1190625" y="100966"/>
                </a:cubicBezTo>
                <a:close/>
                <a:moveTo>
                  <a:pt x="718185" y="100965"/>
                </a:moveTo>
                <a:cubicBezTo>
                  <a:pt x="681990" y="100965"/>
                  <a:pt x="653415" y="132398"/>
                  <a:pt x="657225" y="169545"/>
                </a:cubicBezTo>
                <a:cubicBezTo>
                  <a:pt x="661035" y="197167"/>
                  <a:pt x="682943" y="219075"/>
                  <a:pt x="710565" y="222885"/>
                </a:cubicBezTo>
                <a:cubicBezTo>
                  <a:pt x="746760" y="227648"/>
                  <a:pt x="777240" y="200978"/>
                  <a:pt x="779145" y="165735"/>
                </a:cubicBezTo>
                <a:cubicBezTo>
                  <a:pt x="779145" y="165735"/>
                  <a:pt x="779145" y="159067"/>
                  <a:pt x="779145" y="159067"/>
                </a:cubicBezTo>
                <a:cubicBezTo>
                  <a:pt x="777240" y="126683"/>
                  <a:pt x="750570" y="100965"/>
                  <a:pt x="718185" y="100965"/>
                </a:cubicBezTo>
                <a:close/>
                <a:moveTo>
                  <a:pt x="962546" y="96694"/>
                </a:moveTo>
                <a:cubicBezTo>
                  <a:pt x="955119" y="96560"/>
                  <a:pt x="947261" y="97870"/>
                  <a:pt x="939165" y="100966"/>
                </a:cubicBezTo>
                <a:cubicBezTo>
                  <a:pt x="910590" y="111443"/>
                  <a:pt x="897255" y="137161"/>
                  <a:pt x="897255" y="159068"/>
                </a:cubicBezTo>
                <a:lnTo>
                  <a:pt x="1012508" y="127636"/>
                </a:lnTo>
                <a:cubicBezTo>
                  <a:pt x="1003221" y="110491"/>
                  <a:pt x="984825" y="97096"/>
                  <a:pt x="962546" y="96694"/>
                </a:cubicBezTo>
                <a:close/>
                <a:moveTo>
                  <a:pt x="1182052" y="57151"/>
                </a:moveTo>
                <a:cubicBezTo>
                  <a:pt x="1243012" y="52388"/>
                  <a:pt x="1296352" y="99061"/>
                  <a:pt x="1296352" y="165736"/>
                </a:cubicBezTo>
                <a:lnTo>
                  <a:pt x="1296352" y="266701"/>
                </a:lnTo>
                <a:lnTo>
                  <a:pt x="1255395" y="266701"/>
                </a:lnTo>
                <a:lnTo>
                  <a:pt x="1255395" y="235268"/>
                </a:lnTo>
                <a:cubicBezTo>
                  <a:pt x="1241107" y="258128"/>
                  <a:pt x="1211580" y="269558"/>
                  <a:pt x="1189672" y="269558"/>
                </a:cubicBezTo>
                <a:cubicBezTo>
                  <a:pt x="1128712" y="269558"/>
                  <a:pt x="1080135" y="218123"/>
                  <a:pt x="1083945" y="156211"/>
                </a:cubicBezTo>
                <a:cubicBezTo>
                  <a:pt x="1087755" y="103823"/>
                  <a:pt x="1129665" y="60961"/>
                  <a:pt x="1182052" y="57151"/>
                </a:cubicBezTo>
                <a:close/>
                <a:moveTo>
                  <a:pt x="957263" y="57151"/>
                </a:moveTo>
                <a:cubicBezTo>
                  <a:pt x="1023938" y="55246"/>
                  <a:pt x="1060133" y="110491"/>
                  <a:pt x="1065847" y="152401"/>
                </a:cubicBezTo>
                <a:lnTo>
                  <a:pt x="906780" y="196216"/>
                </a:lnTo>
                <a:cubicBezTo>
                  <a:pt x="917257" y="215266"/>
                  <a:pt x="943928" y="233363"/>
                  <a:pt x="972502" y="227648"/>
                </a:cubicBezTo>
                <a:cubicBezTo>
                  <a:pt x="992505" y="223838"/>
                  <a:pt x="1010602" y="209551"/>
                  <a:pt x="1018222" y="192406"/>
                </a:cubicBezTo>
                <a:lnTo>
                  <a:pt x="1059180" y="204788"/>
                </a:lnTo>
                <a:cubicBezTo>
                  <a:pt x="1042988" y="245746"/>
                  <a:pt x="1002030" y="270511"/>
                  <a:pt x="960120" y="270511"/>
                </a:cubicBezTo>
                <a:cubicBezTo>
                  <a:pt x="900113" y="270511"/>
                  <a:pt x="853440" y="221933"/>
                  <a:pt x="853440" y="164783"/>
                </a:cubicBezTo>
                <a:cubicBezTo>
                  <a:pt x="853440" y="101918"/>
                  <a:pt x="901065" y="59056"/>
                  <a:pt x="957263" y="57151"/>
                </a:cubicBezTo>
                <a:close/>
                <a:moveTo>
                  <a:pt x="606742" y="56198"/>
                </a:moveTo>
                <a:lnTo>
                  <a:pt x="606742" y="100013"/>
                </a:lnTo>
                <a:cubicBezTo>
                  <a:pt x="575310" y="101918"/>
                  <a:pt x="547688" y="120016"/>
                  <a:pt x="547688" y="165736"/>
                </a:cubicBezTo>
                <a:cubicBezTo>
                  <a:pt x="547688" y="203836"/>
                  <a:pt x="547688" y="202883"/>
                  <a:pt x="547688" y="265748"/>
                </a:cubicBezTo>
                <a:lnTo>
                  <a:pt x="501015" y="265748"/>
                </a:lnTo>
                <a:lnTo>
                  <a:pt x="501015" y="160021"/>
                </a:lnTo>
                <a:lnTo>
                  <a:pt x="501015" y="62866"/>
                </a:lnTo>
                <a:lnTo>
                  <a:pt x="546735" y="62866"/>
                </a:lnTo>
                <a:lnTo>
                  <a:pt x="546735" y="86678"/>
                </a:lnTo>
                <a:cubicBezTo>
                  <a:pt x="553403" y="76201"/>
                  <a:pt x="566738" y="56198"/>
                  <a:pt x="606742" y="56198"/>
                </a:cubicBezTo>
                <a:close/>
                <a:moveTo>
                  <a:pt x="367665" y="56198"/>
                </a:moveTo>
                <a:cubicBezTo>
                  <a:pt x="425768" y="56198"/>
                  <a:pt x="473393" y="103823"/>
                  <a:pt x="474345" y="162878"/>
                </a:cubicBezTo>
                <a:cubicBezTo>
                  <a:pt x="474345" y="221933"/>
                  <a:pt x="426720" y="269558"/>
                  <a:pt x="367665" y="269558"/>
                </a:cubicBezTo>
                <a:cubicBezTo>
                  <a:pt x="308610" y="269558"/>
                  <a:pt x="260985" y="221933"/>
                  <a:pt x="260985" y="162878"/>
                </a:cubicBezTo>
                <a:cubicBezTo>
                  <a:pt x="260985" y="103823"/>
                  <a:pt x="308610" y="56198"/>
                  <a:pt x="367665" y="56198"/>
                </a:cubicBezTo>
                <a:close/>
                <a:moveTo>
                  <a:pt x="0" y="20956"/>
                </a:moveTo>
                <a:lnTo>
                  <a:pt x="47625" y="20956"/>
                </a:lnTo>
                <a:lnTo>
                  <a:pt x="186690" y="184786"/>
                </a:lnTo>
                <a:lnTo>
                  <a:pt x="186690" y="20956"/>
                </a:lnTo>
                <a:lnTo>
                  <a:pt x="233363" y="20956"/>
                </a:lnTo>
                <a:lnTo>
                  <a:pt x="233363" y="266701"/>
                </a:lnTo>
                <a:lnTo>
                  <a:pt x="190500" y="266701"/>
                </a:lnTo>
                <a:lnTo>
                  <a:pt x="49530" y="101918"/>
                </a:lnTo>
                <a:lnTo>
                  <a:pt x="49530" y="265748"/>
                </a:lnTo>
                <a:lnTo>
                  <a:pt x="0" y="265748"/>
                </a:lnTo>
                <a:close/>
                <a:moveTo>
                  <a:pt x="781050" y="0"/>
                </a:moveTo>
                <a:lnTo>
                  <a:pt x="824865" y="0"/>
                </a:lnTo>
                <a:lnTo>
                  <a:pt x="824865" y="160973"/>
                </a:lnTo>
                <a:cubicBezTo>
                  <a:pt x="824865" y="161925"/>
                  <a:pt x="824865" y="161925"/>
                  <a:pt x="824865" y="162878"/>
                </a:cubicBezTo>
                <a:cubicBezTo>
                  <a:pt x="824865" y="163830"/>
                  <a:pt x="824865" y="163830"/>
                  <a:pt x="824865" y="164783"/>
                </a:cubicBezTo>
                <a:lnTo>
                  <a:pt x="824865" y="267653"/>
                </a:lnTo>
                <a:lnTo>
                  <a:pt x="783908" y="267653"/>
                </a:lnTo>
                <a:lnTo>
                  <a:pt x="783908" y="240030"/>
                </a:lnTo>
                <a:cubicBezTo>
                  <a:pt x="772478" y="260033"/>
                  <a:pt x="741045" y="270510"/>
                  <a:pt x="718185" y="270510"/>
                </a:cubicBezTo>
                <a:cubicBezTo>
                  <a:pt x="657225" y="270510"/>
                  <a:pt x="608648" y="219075"/>
                  <a:pt x="612458" y="157163"/>
                </a:cubicBezTo>
                <a:cubicBezTo>
                  <a:pt x="616268" y="104775"/>
                  <a:pt x="658178" y="61913"/>
                  <a:pt x="710565" y="58103"/>
                </a:cubicBezTo>
                <a:cubicBezTo>
                  <a:pt x="738188" y="55245"/>
                  <a:pt x="770573" y="66675"/>
                  <a:pt x="781050" y="80010"/>
                </a:cubicBezTo>
                <a:close/>
              </a:path>
            </a:pathLst>
          </a:custGeom>
          <a:solidFill>
            <a:srgbClr val="FFFF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035909"/>
      </p:ext>
    </p:extLst>
  </p:cSld>
  <p:clrMapOvr>
    <a:masterClrMapping/>
  </p:clrMapOvr>
  <p:hf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1A5ADCA-DB62-4D50-8CF9-6D486E2819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1A5ADCA-DB62-4D50-8CF9-6D486E2819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1" y="1339201"/>
            <a:ext cx="7200000" cy="748800"/>
          </a:xfrm>
        </p:spPr>
        <p:txBody>
          <a:bodyPr vert="horz">
            <a:noAutofit/>
          </a:bodyPr>
          <a:lstStyle>
            <a:lvl1pPr>
              <a:defRPr sz="2399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1" y="2133650"/>
            <a:ext cx="7200000" cy="360083"/>
          </a:xfrm>
        </p:spPr>
        <p:txBody>
          <a:bodyPr>
            <a:noAutofit/>
          </a:bodyPr>
          <a:lstStyle>
            <a:lvl1pPr marL="0" indent="0" algn="l">
              <a:buNone/>
              <a:defRPr b="1">
                <a:solidFill>
                  <a:schemeClr val="tx2"/>
                </a:solidFill>
              </a:defRPr>
            </a:lvl1pPr>
            <a:lvl2pPr marL="544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3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46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1" y="2592000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chemeClr val="tx2"/>
                </a:solidFill>
              </a:defRPr>
            </a:lvl1pPr>
            <a:lvl2pPr marL="257165" indent="0">
              <a:buNone/>
              <a:defRPr>
                <a:solidFill>
                  <a:schemeClr val="accent2"/>
                </a:solidFill>
              </a:defRPr>
            </a:lvl2pPr>
            <a:lvl3pPr marL="514331" indent="0">
              <a:buNone/>
              <a:defRPr>
                <a:solidFill>
                  <a:schemeClr val="accent2"/>
                </a:solidFill>
              </a:defRPr>
            </a:lvl3pPr>
            <a:lvl4pPr marL="771497" indent="0">
              <a:buNone/>
              <a:defRPr>
                <a:solidFill>
                  <a:schemeClr val="accent2"/>
                </a:solidFill>
              </a:defRPr>
            </a:lvl4pPr>
            <a:lvl5pPr marL="1028662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1" y="2844000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chemeClr val="tx2"/>
                </a:solidFill>
              </a:defRPr>
            </a:lvl1pPr>
            <a:lvl2pPr marL="257165" indent="0">
              <a:buNone/>
              <a:defRPr>
                <a:solidFill>
                  <a:schemeClr val="accent2"/>
                </a:solidFill>
              </a:defRPr>
            </a:lvl2pPr>
            <a:lvl3pPr marL="514331" indent="0">
              <a:buNone/>
              <a:defRPr>
                <a:solidFill>
                  <a:schemeClr val="accent2"/>
                </a:solidFill>
              </a:defRPr>
            </a:lvl3pPr>
            <a:lvl4pPr marL="771497" indent="0">
              <a:buNone/>
              <a:defRPr>
                <a:solidFill>
                  <a:schemeClr val="accent2"/>
                </a:solidFill>
              </a:defRPr>
            </a:lvl4pPr>
            <a:lvl5pPr marL="1028662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grpSp>
        <p:nvGrpSpPr>
          <p:cNvPr id="10" name="Pulse"/>
          <p:cNvGrpSpPr/>
          <p:nvPr userDrawn="1"/>
        </p:nvGrpSpPr>
        <p:grpSpPr>
          <a:xfrm>
            <a:off x="8751888" y="3030539"/>
            <a:ext cx="3446462" cy="3490913"/>
            <a:chOff x="8751888" y="3030538"/>
            <a:chExt cx="3446462" cy="3490913"/>
          </a:xfrm>
          <a:solidFill>
            <a:schemeClr val="accent1"/>
          </a:solidFill>
        </p:grpSpPr>
        <p:sp>
          <p:nvSpPr>
            <p:cNvPr id="11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2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5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6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7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</p:grpSp>
      <p:grpSp>
        <p:nvGrpSpPr>
          <p:cNvPr id="19" name="Logotype"/>
          <p:cNvGrpSpPr/>
          <p:nvPr userDrawn="1"/>
        </p:nvGrpSpPr>
        <p:grpSpPr>
          <a:xfrm>
            <a:off x="641351" y="530891"/>
            <a:ext cx="1384039" cy="288609"/>
            <a:chOff x="9501453" y="6148765"/>
            <a:chExt cx="2047875" cy="427037"/>
          </a:xfrm>
          <a:solidFill>
            <a:schemeClr val="bg2"/>
          </a:solidFill>
        </p:grpSpPr>
        <p:sp>
          <p:nvSpPr>
            <p:cNvPr id="20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3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4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5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6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7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</p:spTree>
    <p:extLst>
      <p:ext uri="{BB962C8B-B14F-4D97-AF65-F5344CB8AC3E}">
        <p14:creationId xmlns:p14="http://schemas.microsoft.com/office/powerpoint/2010/main" val="3164260490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1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ulse Patter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84C83E-E7F2-4A41-A3AF-EB7BF0D89D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84C83E-E7F2-4A41-A3AF-EB7BF0D89D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1" y="1339201"/>
            <a:ext cx="7200000" cy="748800"/>
          </a:xfrm>
        </p:spPr>
        <p:txBody>
          <a:bodyPr vert="horz">
            <a:noAutofit/>
          </a:bodyPr>
          <a:lstStyle>
            <a:lvl1pPr>
              <a:defRPr sz="2399">
                <a:solidFill>
                  <a:srgbClr val="FBD9CA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1" y="2133650"/>
            <a:ext cx="7200000" cy="360083"/>
          </a:xfrm>
        </p:spPr>
        <p:txBody>
          <a:bodyPr/>
          <a:lstStyle>
            <a:lvl1pPr marL="0" indent="0" algn="l">
              <a:buNone/>
              <a:defRPr b="1">
                <a:solidFill>
                  <a:srgbClr val="FFFFFF"/>
                </a:solidFill>
              </a:defRPr>
            </a:lvl1pPr>
            <a:lvl2pPr marL="544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3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46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1" y="2592000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257165" indent="0">
              <a:buNone/>
              <a:defRPr>
                <a:solidFill>
                  <a:schemeClr val="accent2"/>
                </a:solidFill>
              </a:defRPr>
            </a:lvl2pPr>
            <a:lvl3pPr marL="514331" indent="0">
              <a:buNone/>
              <a:defRPr>
                <a:solidFill>
                  <a:schemeClr val="accent2"/>
                </a:solidFill>
              </a:defRPr>
            </a:lvl3pPr>
            <a:lvl4pPr marL="771497" indent="0">
              <a:buNone/>
              <a:defRPr>
                <a:solidFill>
                  <a:schemeClr val="accent2"/>
                </a:solidFill>
              </a:defRPr>
            </a:lvl4pPr>
            <a:lvl5pPr marL="1028662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1" y="2844000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257165" indent="0">
              <a:buNone/>
              <a:defRPr>
                <a:solidFill>
                  <a:schemeClr val="accent2"/>
                </a:solidFill>
              </a:defRPr>
            </a:lvl2pPr>
            <a:lvl3pPr marL="514331" indent="0">
              <a:buNone/>
              <a:defRPr>
                <a:solidFill>
                  <a:schemeClr val="accent2"/>
                </a:solidFill>
              </a:defRPr>
            </a:lvl3pPr>
            <a:lvl4pPr marL="771497" indent="0">
              <a:buNone/>
              <a:defRPr>
                <a:solidFill>
                  <a:schemeClr val="accent2"/>
                </a:solidFill>
              </a:defRPr>
            </a:lvl4pPr>
            <a:lvl5pPr marL="1028662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grpSp>
        <p:nvGrpSpPr>
          <p:cNvPr id="60" name="Pulse"/>
          <p:cNvGrpSpPr/>
          <p:nvPr userDrawn="1"/>
        </p:nvGrpSpPr>
        <p:grpSpPr>
          <a:xfrm>
            <a:off x="1" y="2990851"/>
            <a:ext cx="12204000" cy="3559175"/>
            <a:chOff x="0" y="2990850"/>
            <a:chExt cx="12204700" cy="3559175"/>
          </a:xfrm>
          <a:solidFill>
            <a:srgbClr val="0000FF"/>
          </a:solidFill>
        </p:grpSpPr>
        <p:sp>
          <p:nvSpPr>
            <p:cNvPr id="11" name="Freeform 5"/>
            <p:cNvSpPr>
              <a:spLocks/>
            </p:cNvSpPr>
            <p:nvPr userDrawn="1"/>
          </p:nvSpPr>
          <p:spPr bwMode="auto">
            <a:xfrm>
              <a:off x="1820863" y="4627563"/>
              <a:ext cx="260350" cy="439738"/>
            </a:xfrm>
            <a:custGeom>
              <a:avLst/>
              <a:gdLst>
                <a:gd name="T0" fmla="*/ 41 w 82"/>
                <a:gd name="T1" fmla="*/ 138 h 138"/>
                <a:gd name="T2" fmla="*/ 41 w 82"/>
                <a:gd name="T3" fmla="*/ 138 h 138"/>
                <a:gd name="T4" fmla="*/ 0 w 82"/>
                <a:gd name="T5" fmla="*/ 96 h 138"/>
                <a:gd name="T6" fmla="*/ 0 w 82"/>
                <a:gd name="T7" fmla="*/ 41 h 138"/>
                <a:gd name="T8" fmla="*/ 41 w 82"/>
                <a:gd name="T9" fmla="*/ 0 h 138"/>
                <a:gd name="T10" fmla="*/ 82 w 82"/>
                <a:gd name="T11" fmla="*/ 41 h 138"/>
                <a:gd name="T12" fmla="*/ 82 w 82"/>
                <a:gd name="T13" fmla="*/ 96 h 138"/>
                <a:gd name="T14" fmla="*/ 41 w 82"/>
                <a:gd name="T15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38">
                  <a:moveTo>
                    <a:pt x="41" y="138"/>
                  </a:moveTo>
                  <a:cubicBezTo>
                    <a:pt x="41" y="138"/>
                    <a:pt x="41" y="138"/>
                    <a:pt x="41" y="138"/>
                  </a:cubicBezTo>
                  <a:cubicBezTo>
                    <a:pt x="19" y="138"/>
                    <a:pt x="0" y="119"/>
                    <a:pt x="0" y="96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19"/>
                    <a:pt x="19" y="0"/>
                    <a:pt x="41" y="0"/>
                  </a:cubicBezTo>
                  <a:cubicBezTo>
                    <a:pt x="64" y="0"/>
                    <a:pt x="82" y="19"/>
                    <a:pt x="82" y="41"/>
                  </a:cubicBezTo>
                  <a:cubicBezTo>
                    <a:pt x="82" y="96"/>
                    <a:pt x="82" y="96"/>
                    <a:pt x="82" y="96"/>
                  </a:cubicBezTo>
                  <a:cubicBezTo>
                    <a:pt x="82" y="119"/>
                    <a:pt x="64" y="138"/>
                    <a:pt x="41" y="13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2" name="Freeform 6"/>
            <p:cNvSpPr>
              <a:spLocks/>
            </p:cNvSpPr>
            <p:nvPr userDrawn="1"/>
          </p:nvSpPr>
          <p:spPr bwMode="auto">
            <a:xfrm>
              <a:off x="1211263" y="4605338"/>
              <a:ext cx="434975" cy="1092200"/>
            </a:xfrm>
            <a:custGeom>
              <a:avLst/>
              <a:gdLst>
                <a:gd name="T0" fmla="*/ 69 w 137"/>
                <a:gd name="T1" fmla="*/ 343 h 343"/>
                <a:gd name="T2" fmla="*/ 69 w 137"/>
                <a:gd name="T3" fmla="*/ 343 h 343"/>
                <a:gd name="T4" fmla="*/ 0 w 137"/>
                <a:gd name="T5" fmla="*/ 275 h 343"/>
                <a:gd name="T6" fmla="*/ 0 w 137"/>
                <a:gd name="T7" fmla="*/ 69 h 343"/>
                <a:gd name="T8" fmla="*/ 69 w 137"/>
                <a:gd name="T9" fmla="*/ 0 h 343"/>
                <a:gd name="T10" fmla="*/ 137 w 137"/>
                <a:gd name="T11" fmla="*/ 69 h 343"/>
                <a:gd name="T12" fmla="*/ 137 w 137"/>
                <a:gd name="T13" fmla="*/ 275 h 343"/>
                <a:gd name="T14" fmla="*/ 69 w 137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7" h="343">
                  <a:moveTo>
                    <a:pt x="69" y="343"/>
                  </a:moveTo>
                  <a:cubicBezTo>
                    <a:pt x="69" y="343"/>
                    <a:pt x="69" y="343"/>
                    <a:pt x="69" y="343"/>
                  </a:cubicBezTo>
                  <a:cubicBezTo>
                    <a:pt x="31" y="343"/>
                    <a:pt x="0" y="313"/>
                    <a:pt x="0" y="275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1" y="0"/>
                    <a:pt x="69" y="0"/>
                  </a:cubicBezTo>
                  <a:cubicBezTo>
                    <a:pt x="106" y="0"/>
                    <a:pt x="137" y="31"/>
                    <a:pt x="137" y="69"/>
                  </a:cubicBezTo>
                  <a:cubicBezTo>
                    <a:pt x="137" y="275"/>
                    <a:pt x="137" y="275"/>
                    <a:pt x="137" y="275"/>
                  </a:cubicBezTo>
                  <a:cubicBezTo>
                    <a:pt x="137" y="313"/>
                    <a:pt x="106" y="343"/>
                    <a:pt x="69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auto">
            <a:xfrm>
              <a:off x="447675" y="4105275"/>
              <a:ext cx="544513" cy="2444750"/>
            </a:xfrm>
            <a:custGeom>
              <a:avLst/>
              <a:gdLst>
                <a:gd name="T0" fmla="*/ 86 w 171"/>
                <a:gd name="T1" fmla="*/ 768 h 768"/>
                <a:gd name="T2" fmla="*/ 86 w 171"/>
                <a:gd name="T3" fmla="*/ 768 h 768"/>
                <a:gd name="T4" fmla="*/ 0 w 171"/>
                <a:gd name="T5" fmla="*/ 682 h 768"/>
                <a:gd name="T6" fmla="*/ 0 w 171"/>
                <a:gd name="T7" fmla="*/ 85 h 768"/>
                <a:gd name="T8" fmla="*/ 86 w 171"/>
                <a:gd name="T9" fmla="*/ 0 h 768"/>
                <a:gd name="T10" fmla="*/ 171 w 171"/>
                <a:gd name="T11" fmla="*/ 85 h 768"/>
                <a:gd name="T12" fmla="*/ 171 w 171"/>
                <a:gd name="T13" fmla="*/ 682 h 768"/>
                <a:gd name="T14" fmla="*/ 86 w 171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768">
                  <a:moveTo>
                    <a:pt x="86" y="768"/>
                  </a:moveTo>
                  <a:cubicBezTo>
                    <a:pt x="86" y="768"/>
                    <a:pt x="86" y="768"/>
                    <a:pt x="86" y="768"/>
                  </a:cubicBezTo>
                  <a:cubicBezTo>
                    <a:pt x="38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8" y="0"/>
                    <a:pt x="86" y="0"/>
                  </a:cubicBezTo>
                  <a:cubicBezTo>
                    <a:pt x="133" y="0"/>
                    <a:pt x="171" y="38"/>
                    <a:pt x="171" y="85"/>
                  </a:cubicBezTo>
                  <a:cubicBezTo>
                    <a:pt x="171" y="682"/>
                    <a:pt x="171" y="682"/>
                    <a:pt x="171" y="682"/>
                  </a:cubicBezTo>
                  <a:cubicBezTo>
                    <a:pt x="171" y="730"/>
                    <a:pt x="133" y="768"/>
                    <a:pt x="86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5" name="Freeform 8"/>
            <p:cNvSpPr>
              <a:spLocks/>
            </p:cNvSpPr>
            <p:nvPr userDrawn="1"/>
          </p:nvSpPr>
          <p:spPr bwMode="auto">
            <a:xfrm>
              <a:off x="10529888" y="3994150"/>
              <a:ext cx="434975" cy="1092200"/>
            </a:xfrm>
            <a:custGeom>
              <a:avLst/>
              <a:gdLst>
                <a:gd name="T0" fmla="*/ 69 w 137"/>
                <a:gd name="T1" fmla="*/ 343 h 343"/>
                <a:gd name="T2" fmla="*/ 69 w 137"/>
                <a:gd name="T3" fmla="*/ 343 h 343"/>
                <a:gd name="T4" fmla="*/ 0 w 137"/>
                <a:gd name="T5" fmla="*/ 275 h 343"/>
                <a:gd name="T6" fmla="*/ 0 w 137"/>
                <a:gd name="T7" fmla="*/ 69 h 343"/>
                <a:gd name="T8" fmla="*/ 69 w 137"/>
                <a:gd name="T9" fmla="*/ 0 h 343"/>
                <a:gd name="T10" fmla="*/ 137 w 137"/>
                <a:gd name="T11" fmla="*/ 69 h 343"/>
                <a:gd name="T12" fmla="*/ 137 w 137"/>
                <a:gd name="T13" fmla="*/ 275 h 343"/>
                <a:gd name="T14" fmla="*/ 69 w 137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7" h="343">
                  <a:moveTo>
                    <a:pt x="69" y="343"/>
                  </a:moveTo>
                  <a:cubicBezTo>
                    <a:pt x="69" y="343"/>
                    <a:pt x="69" y="343"/>
                    <a:pt x="69" y="343"/>
                  </a:cubicBezTo>
                  <a:cubicBezTo>
                    <a:pt x="31" y="343"/>
                    <a:pt x="0" y="313"/>
                    <a:pt x="0" y="275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1" y="0"/>
                    <a:pt x="69" y="0"/>
                  </a:cubicBezTo>
                  <a:cubicBezTo>
                    <a:pt x="107" y="0"/>
                    <a:pt x="137" y="31"/>
                    <a:pt x="137" y="69"/>
                  </a:cubicBezTo>
                  <a:cubicBezTo>
                    <a:pt x="137" y="275"/>
                    <a:pt x="137" y="275"/>
                    <a:pt x="137" y="275"/>
                  </a:cubicBezTo>
                  <a:cubicBezTo>
                    <a:pt x="137" y="313"/>
                    <a:pt x="107" y="343"/>
                    <a:pt x="69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6" name="Freeform 9"/>
            <p:cNvSpPr>
              <a:spLocks/>
            </p:cNvSpPr>
            <p:nvPr userDrawn="1"/>
          </p:nvSpPr>
          <p:spPr bwMode="auto">
            <a:xfrm>
              <a:off x="10094913" y="4627563"/>
              <a:ext cx="260350" cy="439738"/>
            </a:xfrm>
            <a:custGeom>
              <a:avLst/>
              <a:gdLst>
                <a:gd name="T0" fmla="*/ 41 w 82"/>
                <a:gd name="T1" fmla="*/ 138 h 138"/>
                <a:gd name="T2" fmla="*/ 41 w 82"/>
                <a:gd name="T3" fmla="*/ 138 h 138"/>
                <a:gd name="T4" fmla="*/ 0 w 82"/>
                <a:gd name="T5" fmla="*/ 96 h 138"/>
                <a:gd name="T6" fmla="*/ 0 w 82"/>
                <a:gd name="T7" fmla="*/ 41 h 138"/>
                <a:gd name="T8" fmla="*/ 41 w 82"/>
                <a:gd name="T9" fmla="*/ 0 h 138"/>
                <a:gd name="T10" fmla="*/ 82 w 82"/>
                <a:gd name="T11" fmla="*/ 41 h 138"/>
                <a:gd name="T12" fmla="*/ 82 w 82"/>
                <a:gd name="T13" fmla="*/ 96 h 138"/>
                <a:gd name="T14" fmla="*/ 41 w 82"/>
                <a:gd name="T15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38">
                  <a:moveTo>
                    <a:pt x="41" y="138"/>
                  </a:moveTo>
                  <a:cubicBezTo>
                    <a:pt x="41" y="138"/>
                    <a:pt x="41" y="138"/>
                    <a:pt x="41" y="138"/>
                  </a:cubicBezTo>
                  <a:cubicBezTo>
                    <a:pt x="18" y="138"/>
                    <a:pt x="0" y="119"/>
                    <a:pt x="0" y="96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19"/>
                    <a:pt x="18" y="0"/>
                    <a:pt x="41" y="0"/>
                  </a:cubicBezTo>
                  <a:cubicBezTo>
                    <a:pt x="63" y="0"/>
                    <a:pt x="82" y="19"/>
                    <a:pt x="82" y="41"/>
                  </a:cubicBezTo>
                  <a:cubicBezTo>
                    <a:pt x="82" y="96"/>
                    <a:pt x="82" y="96"/>
                    <a:pt x="82" y="96"/>
                  </a:cubicBezTo>
                  <a:cubicBezTo>
                    <a:pt x="82" y="119"/>
                    <a:pt x="63" y="138"/>
                    <a:pt x="41" y="13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7" name="Freeform 10"/>
            <p:cNvSpPr>
              <a:spLocks/>
            </p:cNvSpPr>
            <p:nvPr userDrawn="1"/>
          </p:nvSpPr>
          <p:spPr bwMode="auto">
            <a:xfrm>
              <a:off x="11183938" y="3144838"/>
              <a:ext cx="544513" cy="2444750"/>
            </a:xfrm>
            <a:custGeom>
              <a:avLst/>
              <a:gdLst>
                <a:gd name="T0" fmla="*/ 86 w 171"/>
                <a:gd name="T1" fmla="*/ 768 h 768"/>
                <a:gd name="T2" fmla="*/ 86 w 171"/>
                <a:gd name="T3" fmla="*/ 768 h 768"/>
                <a:gd name="T4" fmla="*/ 0 w 171"/>
                <a:gd name="T5" fmla="*/ 682 h 768"/>
                <a:gd name="T6" fmla="*/ 0 w 171"/>
                <a:gd name="T7" fmla="*/ 85 h 768"/>
                <a:gd name="T8" fmla="*/ 86 w 171"/>
                <a:gd name="T9" fmla="*/ 0 h 768"/>
                <a:gd name="T10" fmla="*/ 171 w 171"/>
                <a:gd name="T11" fmla="*/ 85 h 768"/>
                <a:gd name="T12" fmla="*/ 171 w 171"/>
                <a:gd name="T13" fmla="*/ 682 h 768"/>
                <a:gd name="T14" fmla="*/ 86 w 171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768">
                  <a:moveTo>
                    <a:pt x="86" y="768"/>
                  </a:moveTo>
                  <a:cubicBezTo>
                    <a:pt x="86" y="768"/>
                    <a:pt x="86" y="768"/>
                    <a:pt x="86" y="768"/>
                  </a:cubicBezTo>
                  <a:cubicBezTo>
                    <a:pt x="38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8" y="0"/>
                    <a:pt x="86" y="0"/>
                  </a:cubicBezTo>
                  <a:cubicBezTo>
                    <a:pt x="133" y="0"/>
                    <a:pt x="171" y="38"/>
                    <a:pt x="171" y="85"/>
                  </a:cubicBezTo>
                  <a:cubicBezTo>
                    <a:pt x="171" y="682"/>
                    <a:pt x="171" y="682"/>
                    <a:pt x="171" y="682"/>
                  </a:cubicBezTo>
                  <a:cubicBezTo>
                    <a:pt x="171" y="730"/>
                    <a:pt x="133" y="768"/>
                    <a:pt x="86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8" name="Freeform 11"/>
            <p:cNvSpPr>
              <a:spLocks noEditPoints="1"/>
            </p:cNvSpPr>
            <p:nvPr userDrawn="1"/>
          </p:nvSpPr>
          <p:spPr bwMode="auto">
            <a:xfrm>
              <a:off x="7742238" y="4083050"/>
              <a:ext cx="434975" cy="1092200"/>
            </a:xfrm>
            <a:custGeom>
              <a:avLst/>
              <a:gdLst>
                <a:gd name="T0" fmla="*/ 69 w 137"/>
                <a:gd name="T1" fmla="*/ 13 h 343"/>
                <a:gd name="T2" fmla="*/ 124 w 137"/>
                <a:gd name="T3" fmla="*/ 68 h 343"/>
                <a:gd name="T4" fmla="*/ 124 w 137"/>
                <a:gd name="T5" fmla="*/ 274 h 343"/>
                <a:gd name="T6" fmla="*/ 69 w 137"/>
                <a:gd name="T7" fmla="*/ 329 h 343"/>
                <a:gd name="T8" fmla="*/ 14 w 137"/>
                <a:gd name="T9" fmla="*/ 274 h 343"/>
                <a:gd name="T10" fmla="*/ 14 w 137"/>
                <a:gd name="T11" fmla="*/ 68 h 343"/>
                <a:gd name="T12" fmla="*/ 69 w 137"/>
                <a:gd name="T13" fmla="*/ 13 h 343"/>
                <a:gd name="T14" fmla="*/ 69 w 137"/>
                <a:gd name="T15" fmla="*/ 0 h 343"/>
                <a:gd name="T16" fmla="*/ 69 w 137"/>
                <a:gd name="T17" fmla="*/ 0 h 343"/>
                <a:gd name="T18" fmla="*/ 0 w 137"/>
                <a:gd name="T19" fmla="*/ 68 h 343"/>
                <a:gd name="T20" fmla="*/ 0 w 137"/>
                <a:gd name="T21" fmla="*/ 274 h 343"/>
                <a:gd name="T22" fmla="*/ 69 w 137"/>
                <a:gd name="T23" fmla="*/ 343 h 343"/>
                <a:gd name="T24" fmla="*/ 137 w 137"/>
                <a:gd name="T25" fmla="*/ 274 h 343"/>
                <a:gd name="T26" fmla="*/ 137 w 137"/>
                <a:gd name="T27" fmla="*/ 68 h 343"/>
                <a:gd name="T28" fmla="*/ 69 w 137"/>
                <a:gd name="T29" fmla="*/ 0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7" h="343">
                  <a:moveTo>
                    <a:pt x="69" y="13"/>
                  </a:moveTo>
                  <a:cubicBezTo>
                    <a:pt x="99" y="13"/>
                    <a:pt x="124" y="38"/>
                    <a:pt x="124" y="68"/>
                  </a:cubicBezTo>
                  <a:cubicBezTo>
                    <a:pt x="124" y="274"/>
                    <a:pt x="124" y="274"/>
                    <a:pt x="124" y="274"/>
                  </a:cubicBezTo>
                  <a:cubicBezTo>
                    <a:pt x="124" y="304"/>
                    <a:pt x="99" y="329"/>
                    <a:pt x="69" y="329"/>
                  </a:cubicBezTo>
                  <a:cubicBezTo>
                    <a:pt x="39" y="329"/>
                    <a:pt x="14" y="304"/>
                    <a:pt x="14" y="274"/>
                  </a:cubicBezTo>
                  <a:cubicBezTo>
                    <a:pt x="14" y="68"/>
                    <a:pt x="14" y="68"/>
                    <a:pt x="14" y="68"/>
                  </a:cubicBezTo>
                  <a:cubicBezTo>
                    <a:pt x="14" y="38"/>
                    <a:pt x="39" y="13"/>
                    <a:pt x="69" y="13"/>
                  </a:cubicBezTo>
                  <a:moveTo>
                    <a:pt x="69" y="0"/>
                  </a:moveTo>
                  <a:cubicBezTo>
                    <a:pt x="69" y="0"/>
                    <a:pt x="69" y="0"/>
                    <a:pt x="69" y="0"/>
                  </a:cubicBezTo>
                  <a:cubicBezTo>
                    <a:pt x="31" y="0"/>
                    <a:pt x="0" y="30"/>
                    <a:pt x="0" y="68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0" y="312"/>
                    <a:pt x="31" y="343"/>
                    <a:pt x="69" y="343"/>
                  </a:cubicBezTo>
                  <a:cubicBezTo>
                    <a:pt x="107" y="343"/>
                    <a:pt x="137" y="312"/>
                    <a:pt x="137" y="274"/>
                  </a:cubicBezTo>
                  <a:cubicBezTo>
                    <a:pt x="137" y="68"/>
                    <a:pt x="137" y="68"/>
                    <a:pt x="137" y="68"/>
                  </a:cubicBezTo>
                  <a:cubicBezTo>
                    <a:pt x="137" y="30"/>
                    <a:pt x="107" y="0"/>
                    <a:pt x="6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9" name="Freeform 12"/>
            <p:cNvSpPr>
              <a:spLocks/>
            </p:cNvSpPr>
            <p:nvPr userDrawn="1"/>
          </p:nvSpPr>
          <p:spPr bwMode="auto">
            <a:xfrm>
              <a:off x="9480550" y="4605338"/>
              <a:ext cx="439738" cy="1092200"/>
            </a:xfrm>
            <a:custGeom>
              <a:avLst/>
              <a:gdLst>
                <a:gd name="T0" fmla="*/ 69 w 138"/>
                <a:gd name="T1" fmla="*/ 343 h 343"/>
                <a:gd name="T2" fmla="*/ 69 w 138"/>
                <a:gd name="T3" fmla="*/ 343 h 343"/>
                <a:gd name="T4" fmla="*/ 0 w 138"/>
                <a:gd name="T5" fmla="*/ 275 h 343"/>
                <a:gd name="T6" fmla="*/ 0 w 138"/>
                <a:gd name="T7" fmla="*/ 69 h 343"/>
                <a:gd name="T8" fmla="*/ 69 w 138"/>
                <a:gd name="T9" fmla="*/ 0 h 343"/>
                <a:gd name="T10" fmla="*/ 138 w 138"/>
                <a:gd name="T11" fmla="*/ 69 h 343"/>
                <a:gd name="T12" fmla="*/ 138 w 138"/>
                <a:gd name="T13" fmla="*/ 275 h 343"/>
                <a:gd name="T14" fmla="*/ 69 w 138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8" h="343">
                  <a:moveTo>
                    <a:pt x="69" y="343"/>
                  </a:moveTo>
                  <a:cubicBezTo>
                    <a:pt x="69" y="343"/>
                    <a:pt x="69" y="343"/>
                    <a:pt x="69" y="343"/>
                  </a:cubicBezTo>
                  <a:cubicBezTo>
                    <a:pt x="31" y="343"/>
                    <a:pt x="0" y="313"/>
                    <a:pt x="0" y="275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1" y="0"/>
                    <a:pt x="69" y="0"/>
                  </a:cubicBezTo>
                  <a:cubicBezTo>
                    <a:pt x="107" y="0"/>
                    <a:pt x="138" y="31"/>
                    <a:pt x="138" y="69"/>
                  </a:cubicBezTo>
                  <a:cubicBezTo>
                    <a:pt x="138" y="275"/>
                    <a:pt x="138" y="275"/>
                    <a:pt x="138" y="275"/>
                  </a:cubicBezTo>
                  <a:cubicBezTo>
                    <a:pt x="138" y="313"/>
                    <a:pt x="107" y="343"/>
                    <a:pt x="69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46" name="Freeform 13"/>
            <p:cNvSpPr>
              <a:spLocks noEditPoints="1"/>
            </p:cNvSpPr>
            <p:nvPr userDrawn="1"/>
          </p:nvSpPr>
          <p:spPr bwMode="auto">
            <a:xfrm>
              <a:off x="8397875" y="3230563"/>
              <a:ext cx="546100" cy="2447925"/>
            </a:xfrm>
            <a:custGeom>
              <a:avLst/>
              <a:gdLst>
                <a:gd name="T0" fmla="*/ 86 w 172"/>
                <a:gd name="T1" fmla="*/ 14 h 769"/>
                <a:gd name="T2" fmla="*/ 158 w 172"/>
                <a:gd name="T3" fmla="*/ 86 h 769"/>
                <a:gd name="T4" fmla="*/ 158 w 172"/>
                <a:gd name="T5" fmla="*/ 683 h 769"/>
                <a:gd name="T6" fmla="*/ 86 w 172"/>
                <a:gd name="T7" fmla="*/ 755 h 769"/>
                <a:gd name="T8" fmla="*/ 14 w 172"/>
                <a:gd name="T9" fmla="*/ 683 h 769"/>
                <a:gd name="T10" fmla="*/ 14 w 172"/>
                <a:gd name="T11" fmla="*/ 86 h 769"/>
                <a:gd name="T12" fmla="*/ 86 w 172"/>
                <a:gd name="T13" fmla="*/ 14 h 769"/>
                <a:gd name="T14" fmla="*/ 86 w 172"/>
                <a:gd name="T15" fmla="*/ 0 h 769"/>
                <a:gd name="T16" fmla="*/ 0 w 172"/>
                <a:gd name="T17" fmla="*/ 86 h 769"/>
                <a:gd name="T18" fmla="*/ 0 w 172"/>
                <a:gd name="T19" fmla="*/ 683 h 769"/>
                <a:gd name="T20" fmla="*/ 86 w 172"/>
                <a:gd name="T21" fmla="*/ 769 h 769"/>
                <a:gd name="T22" fmla="*/ 172 w 172"/>
                <a:gd name="T23" fmla="*/ 683 h 769"/>
                <a:gd name="T24" fmla="*/ 172 w 172"/>
                <a:gd name="T25" fmla="*/ 86 h 769"/>
                <a:gd name="T26" fmla="*/ 86 w 172"/>
                <a:gd name="T27" fmla="*/ 0 h 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2" h="769">
                  <a:moveTo>
                    <a:pt x="86" y="14"/>
                  </a:moveTo>
                  <a:cubicBezTo>
                    <a:pt x="126" y="14"/>
                    <a:pt x="158" y="46"/>
                    <a:pt x="158" y="86"/>
                  </a:cubicBezTo>
                  <a:cubicBezTo>
                    <a:pt x="158" y="683"/>
                    <a:pt x="158" y="683"/>
                    <a:pt x="158" y="683"/>
                  </a:cubicBezTo>
                  <a:cubicBezTo>
                    <a:pt x="158" y="723"/>
                    <a:pt x="126" y="755"/>
                    <a:pt x="86" y="755"/>
                  </a:cubicBezTo>
                  <a:cubicBezTo>
                    <a:pt x="46" y="755"/>
                    <a:pt x="14" y="723"/>
                    <a:pt x="14" y="683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4" y="46"/>
                    <a:pt x="46" y="14"/>
                    <a:pt x="86" y="14"/>
                  </a:cubicBezTo>
                  <a:moveTo>
                    <a:pt x="86" y="0"/>
                  </a:moveTo>
                  <a:cubicBezTo>
                    <a:pt x="38" y="0"/>
                    <a:pt x="0" y="39"/>
                    <a:pt x="0" y="86"/>
                  </a:cubicBezTo>
                  <a:cubicBezTo>
                    <a:pt x="0" y="683"/>
                    <a:pt x="0" y="683"/>
                    <a:pt x="0" y="683"/>
                  </a:cubicBezTo>
                  <a:cubicBezTo>
                    <a:pt x="0" y="730"/>
                    <a:pt x="38" y="769"/>
                    <a:pt x="86" y="769"/>
                  </a:cubicBezTo>
                  <a:cubicBezTo>
                    <a:pt x="133" y="769"/>
                    <a:pt x="172" y="730"/>
                    <a:pt x="172" y="683"/>
                  </a:cubicBezTo>
                  <a:cubicBezTo>
                    <a:pt x="172" y="86"/>
                    <a:pt x="172" y="86"/>
                    <a:pt x="172" y="86"/>
                  </a:cubicBezTo>
                  <a:cubicBezTo>
                    <a:pt x="172" y="39"/>
                    <a:pt x="133" y="0"/>
                    <a:pt x="8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47" name="Freeform 14"/>
            <p:cNvSpPr>
              <a:spLocks noEditPoints="1"/>
            </p:cNvSpPr>
            <p:nvPr userDrawn="1"/>
          </p:nvSpPr>
          <p:spPr bwMode="auto">
            <a:xfrm>
              <a:off x="1951038" y="4083050"/>
              <a:ext cx="439738" cy="1092200"/>
            </a:xfrm>
            <a:custGeom>
              <a:avLst/>
              <a:gdLst>
                <a:gd name="T0" fmla="*/ 69 w 138"/>
                <a:gd name="T1" fmla="*/ 13 h 343"/>
                <a:gd name="T2" fmla="*/ 124 w 138"/>
                <a:gd name="T3" fmla="*/ 68 h 343"/>
                <a:gd name="T4" fmla="*/ 124 w 138"/>
                <a:gd name="T5" fmla="*/ 274 h 343"/>
                <a:gd name="T6" fmla="*/ 69 w 138"/>
                <a:gd name="T7" fmla="*/ 329 h 343"/>
                <a:gd name="T8" fmla="*/ 14 w 138"/>
                <a:gd name="T9" fmla="*/ 274 h 343"/>
                <a:gd name="T10" fmla="*/ 14 w 138"/>
                <a:gd name="T11" fmla="*/ 68 h 343"/>
                <a:gd name="T12" fmla="*/ 69 w 138"/>
                <a:gd name="T13" fmla="*/ 13 h 343"/>
                <a:gd name="T14" fmla="*/ 69 w 138"/>
                <a:gd name="T15" fmla="*/ 0 h 343"/>
                <a:gd name="T16" fmla="*/ 0 w 138"/>
                <a:gd name="T17" fmla="*/ 68 h 343"/>
                <a:gd name="T18" fmla="*/ 0 w 138"/>
                <a:gd name="T19" fmla="*/ 274 h 343"/>
                <a:gd name="T20" fmla="*/ 69 w 138"/>
                <a:gd name="T21" fmla="*/ 343 h 343"/>
                <a:gd name="T22" fmla="*/ 138 w 138"/>
                <a:gd name="T23" fmla="*/ 274 h 343"/>
                <a:gd name="T24" fmla="*/ 138 w 138"/>
                <a:gd name="T25" fmla="*/ 68 h 343"/>
                <a:gd name="T26" fmla="*/ 69 w 138"/>
                <a:gd name="T27" fmla="*/ 0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8" h="343">
                  <a:moveTo>
                    <a:pt x="69" y="13"/>
                  </a:moveTo>
                  <a:cubicBezTo>
                    <a:pt x="99" y="13"/>
                    <a:pt x="124" y="38"/>
                    <a:pt x="124" y="68"/>
                  </a:cubicBezTo>
                  <a:cubicBezTo>
                    <a:pt x="124" y="274"/>
                    <a:pt x="124" y="274"/>
                    <a:pt x="124" y="274"/>
                  </a:cubicBezTo>
                  <a:cubicBezTo>
                    <a:pt x="124" y="304"/>
                    <a:pt x="99" y="329"/>
                    <a:pt x="69" y="329"/>
                  </a:cubicBezTo>
                  <a:cubicBezTo>
                    <a:pt x="39" y="329"/>
                    <a:pt x="14" y="304"/>
                    <a:pt x="14" y="274"/>
                  </a:cubicBezTo>
                  <a:cubicBezTo>
                    <a:pt x="14" y="68"/>
                    <a:pt x="14" y="68"/>
                    <a:pt x="14" y="68"/>
                  </a:cubicBezTo>
                  <a:cubicBezTo>
                    <a:pt x="14" y="38"/>
                    <a:pt x="39" y="13"/>
                    <a:pt x="69" y="13"/>
                  </a:cubicBezTo>
                  <a:moveTo>
                    <a:pt x="69" y="0"/>
                  </a:moveTo>
                  <a:cubicBezTo>
                    <a:pt x="31" y="0"/>
                    <a:pt x="0" y="30"/>
                    <a:pt x="0" y="68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0" y="312"/>
                    <a:pt x="31" y="343"/>
                    <a:pt x="69" y="343"/>
                  </a:cubicBezTo>
                  <a:cubicBezTo>
                    <a:pt x="107" y="343"/>
                    <a:pt x="138" y="312"/>
                    <a:pt x="138" y="274"/>
                  </a:cubicBezTo>
                  <a:cubicBezTo>
                    <a:pt x="138" y="68"/>
                    <a:pt x="138" y="68"/>
                    <a:pt x="138" y="68"/>
                  </a:cubicBezTo>
                  <a:cubicBezTo>
                    <a:pt x="138" y="30"/>
                    <a:pt x="107" y="0"/>
                    <a:pt x="6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48" name="Freeform 15"/>
            <p:cNvSpPr>
              <a:spLocks noEditPoints="1"/>
            </p:cNvSpPr>
            <p:nvPr userDrawn="1"/>
          </p:nvSpPr>
          <p:spPr bwMode="auto">
            <a:xfrm>
              <a:off x="2606675" y="3230563"/>
              <a:ext cx="546100" cy="2447925"/>
            </a:xfrm>
            <a:custGeom>
              <a:avLst/>
              <a:gdLst>
                <a:gd name="T0" fmla="*/ 86 w 172"/>
                <a:gd name="T1" fmla="*/ 14 h 769"/>
                <a:gd name="T2" fmla="*/ 158 w 172"/>
                <a:gd name="T3" fmla="*/ 86 h 769"/>
                <a:gd name="T4" fmla="*/ 158 w 172"/>
                <a:gd name="T5" fmla="*/ 683 h 769"/>
                <a:gd name="T6" fmla="*/ 86 w 172"/>
                <a:gd name="T7" fmla="*/ 755 h 769"/>
                <a:gd name="T8" fmla="*/ 14 w 172"/>
                <a:gd name="T9" fmla="*/ 683 h 769"/>
                <a:gd name="T10" fmla="*/ 14 w 172"/>
                <a:gd name="T11" fmla="*/ 86 h 769"/>
                <a:gd name="T12" fmla="*/ 86 w 172"/>
                <a:gd name="T13" fmla="*/ 14 h 769"/>
                <a:gd name="T14" fmla="*/ 86 w 172"/>
                <a:gd name="T15" fmla="*/ 0 h 769"/>
                <a:gd name="T16" fmla="*/ 0 w 172"/>
                <a:gd name="T17" fmla="*/ 86 h 769"/>
                <a:gd name="T18" fmla="*/ 0 w 172"/>
                <a:gd name="T19" fmla="*/ 683 h 769"/>
                <a:gd name="T20" fmla="*/ 86 w 172"/>
                <a:gd name="T21" fmla="*/ 769 h 769"/>
                <a:gd name="T22" fmla="*/ 172 w 172"/>
                <a:gd name="T23" fmla="*/ 683 h 769"/>
                <a:gd name="T24" fmla="*/ 172 w 172"/>
                <a:gd name="T25" fmla="*/ 86 h 769"/>
                <a:gd name="T26" fmla="*/ 86 w 172"/>
                <a:gd name="T27" fmla="*/ 0 h 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2" h="769">
                  <a:moveTo>
                    <a:pt x="86" y="14"/>
                  </a:moveTo>
                  <a:cubicBezTo>
                    <a:pt x="126" y="14"/>
                    <a:pt x="158" y="46"/>
                    <a:pt x="158" y="86"/>
                  </a:cubicBezTo>
                  <a:cubicBezTo>
                    <a:pt x="158" y="683"/>
                    <a:pt x="158" y="683"/>
                    <a:pt x="158" y="683"/>
                  </a:cubicBezTo>
                  <a:cubicBezTo>
                    <a:pt x="158" y="723"/>
                    <a:pt x="126" y="755"/>
                    <a:pt x="86" y="755"/>
                  </a:cubicBezTo>
                  <a:cubicBezTo>
                    <a:pt x="46" y="755"/>
                    <a:pt x="14" y="723"/>
                    <a:pt x="14" y="683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4" y="46"/>
                    <a:pt x="46" y="14"/>
                    <a:pt x="86" y="14"/>
                  </a:cubicBezTo>
                  <a:moveTo>
                    <a:pt x="86" y="0"/>
                  </a:moveTo>
                  <a:cubicBezTo>
                    <a:pt x="39" y="0"/>
                    <a:pt x="0" y="39"/>
                    <a:pt x="0" y="86"/>
                  </a:cubicBezTo>
                  <a:cubicBezTo>
                    <a:pt x="0" y="683"/>
                    <a:pt x="0" y="683"/>
                    <a:pt x="0" y="683"/>
                  </a:cubicBezTo>
                  <a:cubicBezTo>
                    <a:pt x="0" y="730"/>
                    <a:pt x="39" y="769"/>
                    <a:pt x="86" y="769"/>
                  </a:cubicBezTo>
                  <a:cubicBezTo>
                    <a:pt x="133" y="769"/>
                    <a:pt x="172" y="730"/>
                    <a:pt x="172" y="683"/>
                  </a:cubicBezTo>
                  <a:cubicBezTo>
                    <a:pt x="172" y="86"/>
                    <a:pt x="172" y="86"/>
                    <a:pt x="172" y="86"/>
                  </a:cubicBezTo>
                  <a:cubicBezTo>
                    <a:pt x="172" y="39"/>
                    <a:pt x="133" y="0"/>
                    <a:pt x="8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49" name="Freeform 16"/>
            <p:cNvSpPr>
              <a:spLocks/>
            </p:cNvSpPr>
            <p:nvPr userDrawn="1"/>
          </p:nvSpPr>
          <p:spPr bwMode="auto">
            <a:xfrm>
              <a:off x="8718550" y="4105275"/>
              <a:ext cx="546100" cy="2444750"/>
            </a:xfrm>
            <a:custGeom>
              <a:avLst/>
              <a:gdLst>
                <a:gd name="T0" fmla="*/ 86 w 172"/>
                <a:gd name="T1" fmla="*/ 768 h 768"/>
                <a:gd name="T2" fmla="*/ 86 w 172"/>
                <a:gd name="T3" fmla="*/ 768 h 768"/>
                <a:gd name="T4" fmla="*/ 0 w 172"/>
                <a:gd name="T5" fmla="*/ 682 h 768"/>
                <a:gd name="T6" fmla="*/ 0 w 172"/>
                <a:gd name="T7" fmla="*/ 85 h 768"/>
                <a:gd name="T8" fmla="*/ 86 w 172"/>
                <a:gd name="T9" fmla="*/ 0 h 768"/>
                <a:gd name="T10" fmla="*/ 172 w 172"/>
                <a:gd name="T11" fmla="*/ 85 h 768"/>
                <a:gd name="T12" fmla="*/ 172 w 172"/>
                <a:gd name="T13" fmla="*/ 682 h 768"/>
                <a:gd name="T14" fmla="*/ 86 w 172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2" h="768">
                  <a:moveTo>
                    <a:pt x="86" y="768"/>
                  </a:moveTo>
                  <a:cubicBezTo>
                    <a:pt x="86" y="768"/>
                    <a:pt x="86" y="768"/>
                    <a:pt x="86" y="768"/>
                  </a:cubicBezTo>
                  <a:cubicBezTo>
                    <a:pt x="39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9" y="0"/>
                    <a:pt x="86" y="0"/>
                  </a:cubicBezTo>
                  <a:cubicBezTo>
                    <a:pt x="133" y="0"/>
                    <a:pt x="172" y="38"/>
                    <a:pt x="172" y="85"/>
                  </a:cubicBezTo>
                  <a:cubicBezTo>
                    <a:pt x="172" y="682"/>
                    <a:pt x="172" y="682"/>
                    <a:pt x="172" y="682"/>
                  </a:cubicBezTo>
                  <a:cubicBezTo>
                    <a:pt x="172" y="730"/>
                    <a:pt x="133" y="768"/>
                    <a:pt x="86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0" name="Freeform 17"/>
            <p:cNvSpPr>
              <a:spLocks noEditPoints="1"/>
            </p:cNvSpPr>
            <p:nvPr userDrawn="1"/>
          </p:nvSpPr>
          <p:spPr bwMode="auto">
            <a:xfrm>
              <a:off x="4465638" y="3841750"/>
              <a:ext cx="438150" cy="1092200"/>
            </a:xfrm>
            <a:custGeom>
              <a:avLst/>
              <a:gdLst>
                <a:gd name="T0" fmla="*/ 69 w 138"/>
                <a:gd name="T1" fmla="*/ 14 h 343"/>
                <a:gd name="T2" fmla="*/ 124 w 138"/>
                <a:gd name="T3" fmla="*/ 69 h 343"/>
                <a:gd name="T4" fmla="*/ 124 w 138"/>
                <a:gd name="T5" fmla="*/ 275 h 343"/>
                <a:gd name="T6" fmla="*/ 69 w 138"/>
                <a:gd name="T7" fmla="*/ 330 h 343"/>
                <a:gd name="T8" fmla="*/ 14 w 138"/>
                <a:gd name="T9" fmla="*/ 275 h 343"/>
                <a:gd name="T10" fmla="*/ 14 w 138"/>
                <a:gd name="T11" fmla="*/ 69 h 343"/>
                <a:gd name="T12" fmla="*/ 69 w 138"/>
                <a:gd name="T13" fmla="*/ 14 h 343"/>
                <a:gd name="T14" fmla="*/ 69 w 138"/>
                <a:gd name="T15" fmla="*/ 0 h 343"/>
                <a:gd name="T16" fmla="*/ 0 w 138"/>
                <a:gd name="T17" fmla="*/ 69 h 343"/>
                <a:gd name="T18" fmla="*/ 0 w 138"/>
                <a:gd name="T19" fmla="*/ 275 h 343"/>
                <a:gd name="T20" fmla="*/ 69 w 138"/>
                <a:gd name="T21" fmla="*/ 343 h 343"/>
                <a:gd name="T22" fmla="*/ 138 w 138"/>
                <a:gd name="T23" fmla="*/ 275 h 343"/>
                <a:gd name="T24" fmla="*/ 138 w 138"/>
                <a:gd name="T25" fmla="*/ 69 h 343"/>
                <a:gd name="T26" fmla="*/ 69 w 138"/>
                <a:gd name="T27" fmla="*/ 0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8" h="343">
                  <a:moveTo>
                    <a:pt x="69" y="14"/>
                  </a:moveTo>
                  <a:cubicBezTo>
                    <a:pt x="99" y="14"/>
                    <a:pt x="124" y="39"/>
                    <a:pt x="124" y="69"/>
                  </a:cubicBezTo>
                  <a:cubicBezTo>
                    <a:pt x="124" y="275"/>
                    <a:pt x="124" y="275"/>
                    <a:pt x="124" y="275"/>
                  </a:cubicBezTo>
                  <a:cubicBezTo>
                    <a:pt x="124" y="305"/>
                    <a:pt x="99" y="330"/>
                    <a:pt x="69" y="330"/>
                  </a:cubicBezTo>
                  <a:cubicBezTo>
                    <a:pt x="39" y="330"/>
                    <a:pt x="14" y="305"/>
                    <a:pt x="14" y="275"/>
                  </a:cubicBezTo>
                  <a:cubicBezTo>
                    <a:pt x="14" y="69"/>
                    <a:pt x="14" y="69"/>
                    <a:pt x="14" y="69"/>
                  </a:cubicBezTo>
                  <a:cubicBezTo>
                    <a:pt x="14" y="39"/>
                    <a:pt x="39" y="14"/>
                    <a:pt x="69" y="14"/>
                  </a:cubicBezTo>
                  <a:moveTo>
                    <a:pt x="69" y="0"/>
                  </a:moveTo>
                  <a:cubicBezTo>
                    <a:pt x="31" y="0"/>
                    <a:pt x="0" y="31"/>
                    <a:pt x="0" y="69"/>
                  </a:cubicBezTo>
                  <a:cubicBezTo>
                    <a:pt x="0" y="275"/>
                    <a:pt x="0" y="275"/>
                    <a:pt x="0" y="275"/>
                  </a:cubicBezTo>
                  <a:cubicBezTo>
                    <a:pt x="0" y="313"/>
                    <a:pt x="31" y="343"/>
                    <a:pt x="69" y="343"/>
                  </a:cubicBezTo>
                  <a:cubicBezTo>
                    <a:pt x="107" y="343"/>
                    <a:pt x="138" y="313"/>
                    <a:pt x="138" y="275"/>
                  </a:cubicBezTo>
                  <a:cubicBezTo>
                    <a:pt x="138" y="69"/>
                    <a:pt x="138" y="69"/>
                    <a:pt x="138" y="69"/>
                  </a:cubicBezTo>
                  <a:cubicBezTo>
                    <a:pt x="138" y="31"/>
                    <a:pt x="107" y="0"/>
                    <a:pt x="6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1" name="Freeform 18"/>
            <p:cNvSpPr>
              <a:spLocks/>
            </p:cNvSpPr>
            <p:nvPr userDrawn="1"/>
          </p:nvSpPr>
          <p:spPr bwMode="auto">
            <a:xfrm>
              <a:off x="7259638" y="4475163"/>
              <a:ext cx="260350" cy="436563"/>
            </a:xfrm>
            <a:custGeom>
              <a:avLst/>
              <a:gdLst>
                <a:gd name="T0" fmla="*/ 41 w 82"/>
                <a:gd name="T1" fmla="*/ 137 h 137"/>
                <a:gd name="T2" fmla="*/ 41 w 82"/>
                <a:gd name="T3" fmla="*/ 137 h 137"/>
                <a:gd name="T4" fmla="*/ 0 w 82"/>
                <a:gd name="T5" fmla="*/ 96 h 137"/>
                <a:gd name="T6" fmla="*/ 0 w 82"/>
                <a:gd name="T7" fmla="*/ 41 h 137"/>
                <a:gd name="T8" fmla="*/ 41 w 82"/>
                <a:gd name="T9" fmla="*/ 0 h 137"/>
                <a:gd name="T10" fmla="*/ 82 w 82"/>
                <a:gd name="T11" fmla="*/ 41 h 137"/>
                <a:gd name="T12" fmla="*/ 82 w 82"/>
                <a:gd name="T13" fmla="*/ 96 h 137"/>
                <a:gd name="T14" fmla="*/ 41 w 82"/>
                <a:gd name="T15" fmla="*/ 13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37">
                  <a:moveTo>
                    <a:pt x="41" y="137"/>
                  </a:moveTo>
                  <a:cubicBezTo>
                    <a:pt x="41" y="137"/>
                    <a:pt x="41" y="137"/>
                    <a:pt x="41" y="137"/>
                  </a:cubicBezTo>
                  <a:cubicBezTo>
                    <a:pt x="18" y="137"/>
                    <a:pt x="0" y="119"/>
                    <a:pt x="0" y="96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19"/>
                    <a:pt x="18" y="0"/>
                    <a:pt x="41" y="0"/>
                  </a:cubicBezTo>
                  <a:cubicBezTo>
                    <a:pt x="64" y="0"/>
                    <a:pt x="82" y="19"/>
                    <a:pt x="82" y="41"/>
                  </a:cubicBezTo>
                  <a:cubicBezTo>
                    <a:pt x="82" y="96"/>
                    <a:pt x="82" y="96"/>
                    <a:pt x="82" y="96"/>
                  </a:cubicBezTo>
                  <a:cubicBezTo>
                    <a:pt x="82" y="119"/>
                    <a:pt x="64" y="137"/>
                    <a:pt x="41" y="13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2" name="Freeform 19"/>
            <p:cNvSpPr>
              <a:spLocks noEditPoints="1"/>
            </p:cNvSpPr>
            <p:nvPr userDrawn="1"/>
          </p:nvSpPr>
          <p:spPr bwMode="auto">
            <a:xfrm>
              <a:off x="4030663" y="4475163"/>
              <a:ext cx="260350" cy="436563"/>
            </a:xfrm>
            <a:custGeom>
              <a:avLst/>
              <a:gdLst>
                <a:gd name="T0" fmla="*/ 41 w 82"/>
                <a:gd name="T1" fmla="*/ 14 h 137"/>
                <a:gd name="T2" fmla="*/ 69 w 82"/>
                <a:gd name="T3" fmla="*/ 41 h 137"/>
                <a:gd name="T4" fmla="*/ 69 w 82"/>
                <a:gd name="T5" fmla="*/ 96 h 137"/>
                <a:gd name="T6" fmla="*/ 41 w 82"/>
                <a:gd name="T7" fmla="*/ 124 h 137"/>
                <a:gd name="T8" fmla="*/ 14 w 82"/>
                <a:gd name="T9" fmla="*/ 96 h 137"/>
                <a:gd name="T10" fmla="*/ 14 w 82"/>
                <a:gd name="T11" fmla="*/ 41 h 137"/>
                <a:gd name="T12" fmla="*/ 41 w 82"/>
                <a:gd name="T13" fmla="*/ 14 h 137"/>
                <a:gd name="T14" fmla="*/ 41 w 82"/>
                <a:gd name="T15" fmla="*/ 0 h 137"/>
                <a:gd name="T16" fmla="*/ 0 w 82"/>
                <a:gd name="T17" fmla="*/ 41 h 137"/>
                <a:gd name="T18" fmla="*/ 0 w 82"/>
                <a:gd name="T19" fmla="*/ 96 h 137"/>
                <a:gd name="T20" fmla="*/ 41 w 82"/>
                <a:gd name="T21" fmla="*/ 137 h 137"/>
                <a:gd name="T22" fmla="*/ 82 w 82"/>
                <a:gd name="T23" fmla="*/ 96 h 137"/>
                <a:gd name="T24" fmla="*/ 82 w 82"/>
                <a:gd name="T25" fmla="*/ 41 h 137"/>
                <a:gd name="T26" fmla="*/ 41 w 82"/>
                <a:gd name="T27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2" h="137">
                  <a:moveTo>
                    <a:pt x="41" y="14"/>
                  </a:moveTo>
                  <a:cubicBezTo>
                    <a:pt x="56" y="14"/>
                    <a:pt x="69" y="26"/>
                    <a:pt x="69" y="41"/>
                  </a:cubicBezTo>
                  <a:cubicBezTo>
                    <a:pt x="69" y="96"/>
                    <a:pt x="69" y="96"/>
                    <a:pt x="69" y="96"/>
                  </a:cubicBezTo>
                  <a:cubicBezTo>
                    <a:pt x="69" y="112"/>
                    <a:pt x="56" y="124"/>
                    <a:pt x="41" y="124"/>
                  </a:cubicBezTo>
                  <a:cubicBezTo>
                    <a:pt x="26" y="124"/>
                    <a:pt x="14" y="112"/>
                    <a:pt x="14" y="96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4" y="26"/>
                    <a:pt x="26" y="14"/>
                    <a:pt x="41" y="14"/>
                  </a:cubicBezTo>
                  <a:moveTo>
                    <a:pt x="41" y="0"/>
                  </a:moveTo>
                  <a:cubicBezTo>
                    <a:pt x="19" y="0"/>
                    <a:pt x="0" y="19"/>
                    <a:pt x="0" y="41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19"/>
                    <a:pt x="19" y="137"/>
                    <a:pt x="41" y="137"/>
                  </a:cubicBezTo>
                  <a:cubicBezTo>
                    <a:pt x="64" y="137"/>
                    <a:pt x="82" y="119"/>
                    <a:pt x="82" y="96"/>
                  </a:cubicBezTo>
                  <a:cubicBezTo>
                    <a:pt x="82" y="41"/>
                    <a:pt x="82" y="41"/>
                    <a:pt x="82" y="41"/>
                  </a:cubicBezTo>
                  <a:cubicBezTo>
                    <a:pt x="82" y="19"/>
                    <a:pt x="64" y="0"/>
                    <a:pt x="4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3" name="Freeform 20"/>
            <p:cNvSpPr>
              <a:spLocks/>
            </p:cNvSpPr>
            <p:nvPr userDrawn="1"/>
          </p:nvSpPr>
          <p:spPr bwMode="auto">
            <a:xfrm>
              <a:off x="6648450" y="4452938"/>
              <a:ext cx="436563" cy="1092200"/>
            </a:xfrm>
            <a:custGeom>
              <a:avLst/>
              <a:gdLst>
                <a:gd name="T0" fmla="*/ 68 w 137"/>
                <a:gd name="T1" fmla="*/ 343 h 343"/>
                <a:gd name="T2" fmla="*/ 68 w 137"/>
                <a:gd name="T3" fmla="*/ 343 h 343"/>
                <a:gd name="T4" fmla="*/ 0 w 137"/>
                <a:gd name="T5" fmla="*/ 275 h 343"/>
                <a:gd name="T6" fmla="*/ 0 w 137"/>
                <a:gd name="T7" fmla="*/ 69 h 343"/>
                <a:gd name="T8" fmla="*/ 68 w 137"/>
                <a:gd name="T9" fmla="*/ 0 h 343"/>
                <a:gd name="T10" fmla="*/ 137 w 137"/>
                <a:gd name="T11" fmla="*/ 69 h 343"/>
                <a:gd name="T12" fmla="*/ 137 w 137"/>
                <a:gd name="T13" fmla="*/ 275 h 343"/>
                <a:gd name="T14" fmla="*/ 68 w 137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7" h="343">
                  <a:moveTo>
                    <a:pt x="68" y="343"/>
                  </a:moveTo>
                  <a:cubicBezTo>
                    <a:pt x="68" y="343"/>
                    <a:pt x="68" y="343"/>
                    <a:pt x="68" y="343"/>
                  </a:cubicBezTo>
                  <a:cubicBezTo>
                    <a:pt x="30" y="343"/>
                    <a:pt x="0" y="313"/>
                    <a:pt x="0" y="275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0" y="0"/>
                    <a:pt x="68" y="0"/>
                  </a:cubicBezTo>
                  <a:cubicBezTo>
                    <a:pt x="106" y="0"/>
                    <a:pt x="137" y="31"/>
                    <a:pt x="137" y="69"/>
                  </a:cubicBezTo>
                  <a:cubicBezTo>
                    <a:pt x="137" y="275"/>
                    <a:pt x="137" y="275"/>
                    <a:pt x="137" y="275"/>
                  </a:cubicBezTo>
                  <a:cubicBezTo>
                    <a:pt x="137" y="313"/>
                    <a:pt x="106" y="343"/>
                    <a:pt x="68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4" name="Freeform 21"/>
            <p:cNvSpPr>
              <a:spLocks/>
            </p:cNvSpPr>
            <p:nvPr userDrawn="1"/>
          </p:nvSpPr>
          <p:spPr bwMode="auto">
            <a:xfrm>
              <a:off x="5119688" y="2990850"/>
              <a:ext cx="547688" cy="2444750"/>
            </a:xfrm>
            <a:custGeom>
              <a:avLst/>
              <a:gdLst>
                <a:gd name="T0" fmla="*/ 86 w 172"/>
                <a:gd name="T1" fmla="*/ 768 h 768"/>
                <a:gd name="T2" fmla="*/ 86 w 172"/>
                <a:gd name="T3" fmla="*/ 768 h 768"/>
                <a:gd name="T4" fmla="*/ 0 w 172"/>
                <a:gd name="T5" fmla="*/ 682 h 768"/>
                <a:gd name="T6" fmla="*/ 0 w 172"/>
                <a:gd name="T7" fmla="*/ 85 h 768"/>
                <a:gd name="T8" fmla="*/ 86 w 172"/>
                <a:gd name="T9" fmla="*/ 0 h 768"/>
                <a:gd name="T10" fmla="*/ 172 w 172"/>
                <a:gd name="T11" fmla="*/ 85 h 768"/>
                <a:gd name="T12" fmla="*/ 172 w 172"/>
                <a:gd name="T13" fmla="*/ 682 h 768"/>
                <a:gd name="T14" fmla="*/ 86 w 172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2" h="768">
                  <a:moveTo>
                    <a:pt x="86" y="768"/>
                  </a:moveTo>
                  <a:cubicBezTo>
                    <a:pt x="86" y="768"/>
                    <a:pt x="86" y="768"/>
                    <a:pt x="86" y="768"/>
                  </a:cubicBezTo>
                  <a:cubicBezTo>
                    <a:pt x="39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9" y="0"/>
                    <a:pt x="86" y="0"/>
                  </a:cubicBezTo>
                  <a:cubicBezTo>
                    <a:pt x="133" y="0"/>
                    <a:pt x="172" y="38"/>
                    <a:pt x="172" y="85"/>
                  </a:cubicBezTo>
                  <a:cubicBezTo>
                    <a:pt x="172" y="682"/>
                    <a:pt x="172" y="682"/>
                    <a:pt x="172" y="682"/>
                  </a:cubicBezTo>
                  <a:cubicBezTo>
                    <a:pt x="172" y="730"/>
                    <a:pt x="133" y="768"/>
                    <a:pt x="86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5" name="Freeform 22"/>
            <p:cNvSpPr>
              <a:spLocks/>
            </p:cNvSpPr>
            <p:nvPr userDrawn="1"/>
          </p:nvSpPr>
          <p:spPr bwMode="auto">
            <a:xfrm>
              <a:off x="5886450" y="3952875"/>
              <a:ext cx="542925" cy="2444750"/>
            </a:xfrm>
            <a:custGeom>
              <a:avLst/>
              <a:gdLst>
                <a:gd name="T0" fmla="*/ 85 w 171"/>
                <a:gd name="T1" fmla="*/ 768 h 768"/>
                <a:gd name="T2" fmla="*/ 85 w 171"/>
                <a:gd name="T3" fmla="*/ 768 h 768"/>
                <a:gd name="T4" fmla="*/ 0 w 171"/>
                <a:gd name="T5" fmla="*/ 682 h 768"/>
                <a:gd name="T6" fmla="*/ 0 w 171"/>
                <a:gd name="T7" fmla="*/ 85 h 768"/>
                <a:gd name="T8" fmla="*/ 85 w 171"/>
                <a:gd name="T9" fmla="*/ 0 h 768"/>
                <a:gd name="T10" fmla="*/ 171 w 171"/>
                <a:gd name="T11" fmla="*/ 85 h 768"/>
                <a:gd name="T12" fmla="*/ 171 w 171"/>
                <a:gd name="T13" fmla="*/ 682 h 768"/>
                <a:gd name="T14" fmla="*/ 85 w 171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768">
                  <a:moveTo>
                    <a:pt x="85" y="768"/>
                  </a:moveTo>
                  <a:cubicBezTo>
                    <a:pt x="85" y="768"/>
                    <a:pt x="85" y="768"/>
                    <a:pt x="85" y="768"/>
                  </a:cubicBezTo>
                  <a:cubicBezTo>
                    <a:pt x="38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3" y="0"/>
                    <a:pt x="171" y="38"/>
                    <a:pt x="171" y="85"/>
                  </a:cubicBezTo>
                  <a:cubicBezTo>
                    <a:pt x="171" y="682"/>
                    <a:pt x="171" y="682"/>
                    <a:pt x="171" y="682"/>
                  </a:cubicBezTo>
                  <a:cubicBezTo>
                    <a:pt x="171" y="730"/>
                    <a:pt x="133" y="768"/>
                    <a:pt x="85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6" name="Freeform 23"/>
            <p:cNvSpPr>
              <a:spLocks/>
            </p:cNvSpPr>
            <p:nvPr userDrawn="1"/>
          </p:nvSpPr>
          <p:spPr bwMode="auto">
            <a:xfrm>
              <a:off x="3790950" y="4716463"/>
              <a:ext cx="436563" cy="1092200"/>
            </a:xfrm>
            <a:custGeom>
              <a:avLst/>
              <a:gdLst>
                <a:gd name="T0" fmla="*/ 68 w 137"/>
                <a:gd name="T1" fmla="*/ 343 h 343"/>
                <a:gd name="T2" fmla="*/ 68 w 137"/>
                <a:gd name="T3" fmla="*/ 343 h 343"/>
                <a:gd name="T4" fmla="*/ 0 w 137"/>
                <a:gd name="T5" fmla="*/ 274 h 343"/>
                <a:gd name="T6" fmla="*/ 0 w 137"/>
                <a:gd name="T7" fmla="*/ 68 h 343"/>
                <a:gd name="T8" fmla="*/ 68 w 137"/>
                <a:gd name="T9" fmla="*/ 0 h 343"/>
                <a:gd name="T10" fmla="*/ 137 w 137"/>
                <a:gd name="T11" fmla="*/ 68 h 343"/>
                <a:gd name="T12" fmla="*/ 137 w 137"/>
                <a:gd name="T13" fmla="*/ 274 h 343"/>
                <a:gd name="T14" fmla="*/ 68 w 137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7" h="343">
                  <a:moveTo>
                    <a:pt x="68" y="343"/>
                  </a:moveTo>
                  <a:cubicBezTo>
                    <a:pt x="68" y="343"/>
                    <a:pt x="68" y="343"/>
                    <a:pt x="68" y="343"/>
                  </a:cubicBezTo>
                  <a:cubicBezTo>
                    <a:pt x="30" y="343"/>
                    <a:pt x="0" y="312"/>
                    <a:pt x="0" y="274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30"/>
                    <a:pt x="30" y="0"/>
                    <a:pt x="68" y="0"/>
                  </a:cubicBezTo>
                  <a:cubicBezTo>
                    <a:pt x="106" y="0"/>
                    <a:pt x="137" y="30"/>
                    <a:pt x="137" y="68"/>
                  </a:cubicBezTo>
                  <a:cubicBezTo>
                    <a:pt x="137" y="274"/>
                    <a:pt x="137" y="274"/>
                    <a:pt x="137" y="274"/>
                  </a:cubicBezTo>
                  <a:cubicBezTo>
                    <a:pt x="137" y="312"/>
                    <a:pt x="106" y="343"/>
                    <a:pt x="68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7" name="Freeform 24"/>
            <p:cNvSpPr>
              <a:spLocks/>
            </p:cNvSpPr>
            <p:nvPr userDrawn="1"/>
          </p:nvSpPr>
          <p:spPr bwMode="auto">
            <a:xfrm>
              <a:off x="3028950" y="3841750"/>
              <a:ext cx="542925" cy="2447925"/>
            </a:xfrm>
            <a:custGeom>
              <a:avLst/>
              <a:gdLst>
                <a:gd name="T0" fmla="*/ 85 w 171"/>
                <a:gd name="T1" fmla="*/ 769 h 769"/>
                <a:gd name="T2" fmla="*/ 85 w 171"/>
                <a:gd name="T3" fmla="*/ 769 h 769"/>
                <a:gd name="T4" fmla="*/ 0 w 171"/>
                <a:gd name="T5" fmla="*/ 683 h 769"/>
                <a:gd name="T6" fmla="*/ 0 w 171"/>
                <a:gd name="T7" fmla="*/ 86 h 769"/>
                <a:gd name="T8" fmla="*/ 85 w 171"/>
                <a:gd name="T9" fmla="*/ 0 h 769"/>
                <a:gd name="T10" fmla="*/ 171 w 171"/>
                <a:gd name="T11" fmla="*/ 86 h 769"/>
                <a:gd name="T12" fmla="*/ 171 w 171"/>
                <a:gd name="T13" fmla="*/ 683 h 769"/>
                <a:gd name="T14" fmla="*/ 85 w 171"/>
                <a:gd name="T15" fmla="*/ 769 h 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769">
                  <a:moveTo>
                    <a:pt x="85" y="769"/>
                  </a:moveTo>
                  <a:cubicBezTo>
                    <a:pt x="85" y="769"/>
                    <a:pt x="85" y="769"/>
                    <a:pt x="85" y="769"/>
                  </a:cubicBezTo>
                  <a:cubicBezTo>
                    <a:pt x="38" y="769"/>
                    <a:pt x="0" y="730"/>
                    <a:pt x="0" y="683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39"/>
                    <a:pt x="38" y="0"/>
                    <a:pt x="85" y="0"/>
                  </a:cubicBezTo>
                  <a:cubicBezTo>
                    <a:pt x="133" y="0"/>
                    <a:pt x="171" y="39"/>
                    <a:pt x="171" y="86"/>
                  </a:cubicBezTo>
                  <a:cubicBezTo>
                    <a:pt x="171" y="683"/>
                    <a:pt x="171" y="683"/>
                    <a:pt x="171" y="683"/>
                  </a:cubicBezTo>
                  <a:cubicBezTo>
                    <a:pt x="171" y="730"/>
                    <a:pt x="133" y="769"/>
                    <a:pt x="85" y="76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8" name="Freeform 25"/>
            <p:cNvSpPr>
              <a:spLocks/>
            </p:cNvSpPr>
            <p:nvPr userDrawn="1"/>
          </p:nvSpPr>
          <p:spPr bwMode="auto">
            <a:xfrm>
              <a:off x="0" y="3148013"/>
              <a:ext cx="228600" cy="2438400"/>
            </a:xfrm>
            <a:custGeom>
              <a:avLst/>
              <a:gdLst>
                <a:gd name="T0" fmla="*/ 0 w 72"/>
                <a:gd name="T1" fmla="*/ 0 h 766"/>
                <a:gd name="T2" fmla="*/ 0 w 72"/>
                <a:gd name="T3" fmla="*/ 766 h 766"/>
                <a:gd name="T4" fmla="*/ 72 w 72"/>
                <a:gd name="T5" fmla="*/ 681 h 766"/>
                <a:gd name="T6" fmla="*/ 72 w 72"/>
                <a:gd name="T7" fmla="*/ 84 h 766"/>
                <a:gd name="T8" fmla="*/ 0 w 72"/>
                <a:gd name="T9" fmla="*/ 0 h 7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66">
                  <a:moveTo>
                    <a:pt x="0" y="0"/>
                  </a:moveTo>
                  <a:cubicBezTo>
                    <a:pt x="0" y="766"/>
                    <a:pt x="0" y="766"/>
                    <a:pt x="0" y="766"/>
                  </a:cubicBezTo>
                  <a:cubicBezTo>
                    <a:pt x="41" y="759"/>
                    <a:pt x="72" y="724"/>
                    <a:pt x="72" y="681"/>
                  </a:cubicBezTo>
                  <a:cubicBezTo>
                    <a:pt x="72" y="84"/>
                    <a:pt x="72" y="84"/>
                    <a:pt x="72" y="84"/>
                  </a:cubicBezTo>
                  <a:cubicBezTo>
                    <a:pt x="72" y="42"/>
                    <a:pt x="41" y="6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9" name="Freeform 26"/>
            <p:cNvSpPr>
              <a:spLocks/>
            </p:cNvSpPr>
            <p:nvPr userDrawn="1"/>
          </p:nvSpPr>
          <p:spPr bwMode="auto">
            <a:xfrm>
              <a:off x="11950700" y="4105275"/>
              <a:ext cx="254000" cy="2444750"/>
            </a:xfrm>
            <a:custGeom>
              <a:avLst/>
              <a:gdLst>
                <a:gd name="T0" fmla="*/ 80 w 80"/>
                <a:gd name="T1" fmla="*/ 0 h 768"/>
                <a:gd name="T2" fmla="*/ 0 w 80"/>
                <a:gd name="T3" fmla="*/ 85 h 768"/>
                <a:gd name="T4" fmla="*/ 0 w 80"/>
                <a:gd name="T5" fmla="*/ 682 h 768"/>
                <a:gd name="T6" fmla="*/ 80 w 80"/>
                <a:gd name="T7" fmla="*/ 768 h 768"/>
                <a:gd name="T8" fmla="*/ 80 w 80"/>
                <a:gd name="T9" fmla="*/ 0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768">
                  <a:moveTo>
                    <a:pt x="80" y="0"/>
                  </a:moveTo>
                  <a:cubicBezTo>
                    <a:pt x="36" y="2"/>
                    <a:pt x="0" y="39"/>
                    <a:pt x="0" y="85"/>
                  </a:cubicBezTo>
                  <a:cubicBezTo>
                    <a:pt x="0" y="682"/>
                    <a:pt x="0" y="682"/>
                    <a:pt x="0" y="682"/>
                  </a:cubicBezTo>
                  <a:cubicBezTo>
                    <a:pt x="0" y="728"/>
                    <a:pt x="36" y="766"/>
                    <a:pt x="80" y="768"/>
                  </a:cubicBezTo>
                  <a:lnTo>
                    <a:pt x="8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</p:grpSp>
      <p:grpSp>
        <p:nvGrpSpPr>
          <p:cNvPr id="31" name="Logotype"/>
          <p:cNvGrpSpPr/>
          <p:nvPr userDrawn="1"/>
        </p:nvGrpSpPr>
        <p:grpSpPr>
          <a:xfrm>
            <a:off x="641351" y="530891"/>
            <a:ext cx="1384039" cy="288609"/>
            <a:chOff x="9501453" y="6148765"/>
            <a:chExt cx="2047875" cy="427037"/>
          </a:xfrm>
          <a:solidFill>
            <a:schemeClr val="bg1"/>
          </a:solidFill>
        </p:grpSpPr>
        <p:sp>
          <p:nvSpPr>
            <p:cNvPr id="32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3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4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5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6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7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</p:spTree>
    <p:extLst>
      <p:ext uri="{BB962C8B-B14F-4D97-AF65-F5344CB8AC3E}">
        <p14:creationId xmlns:p14="http://schemas.microsoft.com/office/powerpoint/2010/main" val="693234356"/>
      </p:ext>
    </p:extLst>
  </p:cSld>
  <p:clrMapOvr>
    <a:masterClrMapping/>
  </p:clrMapOvr>
  <p:hf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">
    <p:bg>
      <p:bgPr>
        <a:solidFill>
          <a:srgbClr val="FDEC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0E29782-9344-48E9-BA59-745DEA608E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0E29782-9344-48E9-BA59-745DEA608E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28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5175" cy="6859588"/>
          </a:xfrm>
        </p:spPr>
        <p:txBody>
          <a:bodyPr anchor="ctr" anchorCtr="0"/>
          <a:lstStyle>
            <a:lvl1pPr marL="0" indent="0" algn="ctr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Insert picture by using Nordea Image Bank button or use as pink slid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1" y="1339201"/>
            <a:ext cx="7200000" cy="748800"/>
          </a:xfrm>
        </p:spPr>
        <p:txBody>
          <a:bodyPr vert="horz">
            <a:noAutofit/>
          </a:bodyPr>
          <a:lstStyle>
            <a:lvl1pPr>
              <a:defRPr sz="2399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1" y="2133650"/>
            <a:ext cx="7200000" cy="360083"/>
          </a:xfrm>
        </p:spPr>
        <p:txBody>
          <a:bodyPr>
            <a:noAutofit/>
          </a:bodyPr>
          <a:lstStyle>
            <a:lvl1pPr marL="0" indent="0" algn="l">
              <a:buNone/>
              <a:defRPr b="1">
                <a:solidFill>
                  <a:schemeClr val="tx2"/>
                </a:solidFill>
              </a:defRPr>
            </a:lvl1pPr>
            <a:lvl2pPr marL="544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3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46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1" y="2592000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chemeClr val="tx2"/>
                </a:solidFill>
              </a:defRPr>
            </a:lvl1pPr>
            <a:lvl2pPr marL="257165" indent="0">
              <a:buNone/>
              <a:defRPr>
                <a:solidFill>
                  <a:schemeClr val="accent2"/>
                </a:solidFill>
              </a:defRPr>
            </a:lvl2pPr>
            <a:lvl3pPr marL="514331" indent="0">
              <a:buNone/>
              <a:defRPr>
                <a:solidFill>
                  <a:schemeClr val="accent2"/>
                </a:solidFill>
              </a:defRPr>
            </a:lvl3pPr>
            <a:lvl4pPr marL="771497" indent="0">
              <a:buNone/>
              <a:defRPr>
                <a:solidFill>
                  <a:schemeClr val="accent2"/>
                </a:solidFill>
              </a:defRPr>
            </a:lvl4pPr>
            <a:lvl5pPr marL="1028662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1" y="2844000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chemeClr val="tx2"/>
                </a:solidFill>
              </a:defRPr>
            </a:lvl1pPr>
            <a:lvl2pPr marL="257165" indent="0">
              <a:buNone/>
              <a:defRPr>
                <a:solidFill>
                  <a:schemeClr val="accent2"/>
                </a:solidFill>
              </a:defRPr>
            </a:lvl2pPr>
            <a:lvl3pPr marL="514331" indent="0">
              <a:buNone/>
              <a:defRPr>
                <a:solidFill>
                  <a:schemeClr val="accent2"/>
                </a:solidFill>
              </a:defRPr>
            </a:lvl3pPr>
            <a:lvl4pPr marL="771497" indent="0">
              <a:buNone/>
              <a:defRPr>
                <a:solidFill>
                  <a:schemeClr val="accent2"/>
                </a:solidFill>
              </a:defRPr>
            </a:lvl4pPr>
            <a:lvl5pPr marL="1028662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grpSp>
        <p:nvGrpSpPr>
          <p:cNvPr id="10" name="Pulse"/>
          <p:cNvGrpSpPr/>
          <p:nvPr userDrawn="1"/>
        </p:nvGrpSpPr>
        <p:grpSpPr>
          <a:xfrm>
            <a:off x="8751888" y="3030539"/>
            <a:ext cx="3446462" cy="3490913"/>
            <a:chOff x="8751888" y="3030538"/>
            <a:chExt cx="3446462" cy="3490913"/>
          </a:xfrm>
          <a:solidFill>
            <a:schemeClr val="accent1"/>
          </a:solidFill>
        </p:grpSpPr>
        <p:sp>
          <p:nvSpPr>
            <p:cNvPr id="11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2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5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6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7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</p:grpSp>
      <p:grpSp>
        <p:nvGrpSpPr>
          <p:cNvPr id="19" name="Logotype"/>
          <p:cNvGrpSpPr/>
          <p:nvPr userDrawn="1"/>
        </p:nvGrpSpPr>
        <p:grpSpPr>
          <a:xfrm>
            <a:off x="641351" y="530891"/>
            <a:ext cx="1384039" cy="288609"/>
            <a:chOff x="9501453" y="6148765"/>
            <a:chExt cx="2047875" cy="427037"/>
          </a:xfrm>
          <a:solidFill>
            <a:schemeClr val="bg2"/>
          </a:solidFill>
        </p:grpSpPr>
        <p:sp>
          <p:nvSpPr>
            <p:cNvPr id="20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3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4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5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6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7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</p:spTree>
    <p:extLst>
      <p:ext uri="{BB962C8B-B14F-4D97-AF65-F5344CB8AC3E}">
        <p14:creationId xmlns:p14="http://schemas.microsoft.com/office/powerpoint/2010/main" val="2234448027"/>
      </p:ext>
    </p:extLst>
  </p:cSld>
  <p:clrMapOvr>
    <a:masterClrMapping/>
  </p:clrMapOvr>
  <p:hf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74ED41B-56CC-40E3-8C15-ED52415C33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74ED41B-56CC-40E3-8C15-ED52415C33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/>
          <p:cNvSpPr/>
          <p:nvPr userDrawn="1"/>
        </p:nvSpPr>
        <p:spPr>
          <a:xfrm>
            <a:off x="0" y="939600"/>
            <a:ext cx="12193200" cy="381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99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1" y="4783756"/>
            <a:ext cx="7200000" cy="626850"/>
          </a:xfrm>
        </p:spPr>
        <p:txBody>
          <a:bodyPr vert="horz">
            <a:noAutofit/>
          </a:bodyPr>
          <a:lstStyle>
            <a:lvl1pPr>
              <a:defRPr sz="2399">
                <a:solidFill>
                  <a:srgbClr val="FBD9CA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1" y="5436001"/>
            <a:ext cx="7200000" cy="360083"/>
          </a:xfrm>
        </p:spPr>
        <p:txBody>
          <a:bodyPr>
            <a:noAutofit/>
          </a:bodyPr>
          <a:lstStyle>
            <a:lvl1pPr marL="0" indent="0" algn="l">
              <a:buNone/>
              <a:defRPr b="1">
                <a:solidFill>
                  <a:schemeClr val="bg1"/>
                </a:solidFill>
              </a:defRPr>
            </a:lvl1pPr>
            <a:lvl2pPr marL="544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3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46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1" y="5914122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257165" indent="0">
              <a:buNone/>
              <a:defRPr>
                <a:solidFill>
                  <a:schemeClr val="accent2"/>
                </a:solidFill>
              </a:defRPr>
            </a:lvl2pPr>
            <a:lvl3pPr marL="514331" indent="0">
              <a:buNone/>
              <a:defRPr>
                <a:solidFill>
                  <a:schemeClr val="accent2"/>
                </a:solidFill>
              </a:defRPr>
            </a:lvl3pPr>
            <a:lvl4pPr marL="771497" indent="0">
              <a:buNone/>
              <a:defRPr>
                <a:solidFill>
                  <a:schemeClr val="accent2"/>
                </a:solidFill>
              </a:defRPr>
            </a:lvl4pPr>
            <a:lvl5pPr marL="1028662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1" y="6166122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257165" indent="0">
              <a:buNone/>
              <a:defRPr>
                <a:solidFill>
                  <a:schemeClr val="accent2"/>
                </a:solidFill>
              </a:defRPr>
            </a:lvl2pPr>
            <a:lvl3pPr marL="514331" indent="0">
              <a:buNone/>
              <a:defRPr>
                <a:solidFill>
                  <a:schemeClr val="accent2"/>
                </a:solidFill>
              </a:defRPr>
            </a:lvl3pPr>
            <a:lvl4pPr marL="771497" indent="0">
              <a:buNone/>
              <a:defRPr>
                <a:solidFill>
                  <a:schemeClr val="accent2"/>
                </a:solidFill>
              </a:defRPr>
            </a:lvl4pPr>
            <a:lvl5pPr marL="1028662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939600"/>
            <a:ext cx="12204000" cy="3816350"/>
          </a:xfrm>
          <a:noFill/>
        </p:spPr>
        <p:txBody>
          <a:bodyPr anchor="ctr" anchorCtr="0"/>
          <a:lstStyle>
            <a:lvl1pPr marL="0" marR="0" indent="0" algn="ctr" defTabSz="108866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Insert picture by using Nordea Image Bank button</a:t>
            </a:r>
          </a:p>
        </p:txBody>
      </p:sp>
      <p:grpSp>
        <p:nvGrpSpPr>
          <p:cNvPr id="16" name="Pulse"/>
          <p:cNvGrpSpPr/>
          <p:nvPr userDrawn="1"/>
        </p:nvGrpSpPr>
        <p:grpSpPr>
          <a:xfrm>
            <a:off x="8751888" y="3030539"/>
            <a:ext cx="3446462" cy="3490913"/>
            <a:chOff x="8751888" y="3030538"/>
            <a:chExt cx="3446462" cy="3490913"/>
          </a:xfrm>
          <a:solidFill>
            <a:srgbClr val="0000FF"/>
          </a:solidFill>
        </p:grpSpPr>
        <p:sp>
          <p:nvSpPr>
            <p:cNvPr id="17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8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9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23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24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</p:grpSp>
      <p:grpSp>
        <p:nvGrpSpPr>
          <p:cNvPr id="28" name="Logotype"/>
          <p:cNvGrpSpPr/>
          <p:nvPr userDrawn="1"/>
        </p:nvGrpSpPr>
        <p:grpSpPr>
          <a:xfrm>
            <a:off x="5371675" y="298073"/>
            <a:ext cx="1384039" cy="288609"/>
            <a:chOff x="9501453" y="6148765"/>
            <a:chExt cx="2047875" cy="427037"/>
          </a:xfrm>
          <a:solidFill>
            <a:schemeClr val="bg1"/>
          </a:solidFill>
        </p:grpSpPr>
        <p:sp>
          <p:nvSpPr>
            <p:cNvPr id="29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0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1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2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3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4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</p:spTree>
    <p:extLst>
      <p:ext uri="{BB962C8B-B14F-4D97-AF65-F5344CB8AC3E}">
        <p14:creationId xmlns:p14="http://schemas.microsoft.com/office/powerpoint/2010/main" val="2939230974"/>
      </p:ext>
    </p:extLst>
  </p:cSld>
  <p:clrMapOvr>
    <a:masterClrMapping/>
  </p:clrMapOvr>
  <p:hf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Pink">
    <p:bg>
      <p:bgPr>
        <a:solidFill>
          <a:srgbClr val="FDEC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98F5776-DCF7-42E0-A50E-57F9866A42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98F5776-DCF7-42E0-A50E-57F9866A42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0"/>
            <a:ext cx="12193200" cy="6859588"/>
          </a:xfrm>
          <a:prstGeom prst="rect">
            <a:avLst/>
          </a:prstGeom>
          <a:solidFill>
            <a:srgbClr val="FDEC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99"/>
          </a:p>
        </p:txBody>
      </p:sp>
      <p:sp>
        <p:nvSpPr>
          <p:cNvPr id="4" name="Rectangle 3"/>
          <p:cNvSpPr/>
          <p:nvPr userDrawn="1"/>
        </p:nvSpPr>
        <p:spPr>
          <a:xfrm>
            <a:off x="0" y="939600"/>
            <a:ext cx="12193200" cy="381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99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940414"/>
            <a:ext cx="12204000" cy="3816350"/>
          </a:xfrm>
          <a:noFill/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Insert picture by using Nordea Image Bank butt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1" y="4775994"/>
            <a:ext cx="7200000" cy="634612"/>
          </a:xfrm>
        </p:spPr>
        <p:txBody>
          <a:bodyPr vert="horz">
            <a:noAutofit/>
          </a:bodyPr>
          <a:lstStyle>
            <a:lvl1pPr>
              <a:defRPr sz="2399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1" y="5436001"/>
            <a:ext cx="7200000" cy="360083"/>
          </a:xfrm>
        </p:spPr>
        <p:txBody>
          <a:bodyPr>
            <a:noAutofit/>
          </a:bodyPr>
          <a:lstStyle>
            <a:lvl1pPr marL="0" indent="0" algn="l">
              <a:buNone/>
              <a:defRPr b="1">
                <a:solidFill>
                  <a:schemeClr val="tx2"/>
                </a:solidFill>
              </a:defRPr>
            </a:lvl1pPr>
            <a:lvl2pPr marL="544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3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46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1" y="5914122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chemeClr val="tx2"/>
                </a:solidFill>
              </a:defRPr>
            </a:lvl1pPr>
            <a:lvl2pPr marL="257165" indent="0">
              <a:buNone/>
              <a:defRPr>
                <a:solidFill>
                  <a:schemeClr val="accent2"/>
                </a:solidFill>
              </a:defRPr>
            </a:lvl2pPr>
            <a:lvl3pPr marL="514331" indent="0">
              <a:buNone/>
              <a:defRPr>
                <a:solidFill>
                  <a:schemeClr val="accent2"/>
                </a:solidFill>
              </a:defRPr>
            </a:lvl3pPr>
            <a:lvl4pPr marL="771497" indent="0">
              <a:buNone/>
              <a:defRPr>
                <a:solidFill>
                  <a:schemeClr val="accent2"/>
                </a:solidFill>
              </a:defRPr>
            </a:lvl4pPr>
            <a:lvl5pPr marL="1028662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1" y="6166122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chemeClr val="tx2"/>
                </a:solidFill>
              </a:defRPr>
            </a:lvl1pPr>
            <a:lvl2pPr marL="257165" indent="0">
              <a:buNone/>
              <a:defRPr>
                <a:solidFill>
                  <a:schemeClr val="accent2"/>
                </a:solidFill>
              </a:defRPr>
            </a:lvl2pPr>
            <a:lvl3pPr marL="514331" indent="0">
              <a:buNone/>
              <a:defRPr>
                <a:solidFill>
                  <a:schemeClr val="accent2"/>
                </a:solidFill>
              </a:defRPr>
            </a:lvl3pPr>
            <a:lvl4pPr marL="771497" indent="0">
              <a:buNone/>
              <a:defRPr>
                <a:solidFill>
                  <a:schemeClr val="accent2"/>
                </a:solidFill>
              </a:defRPr>
            </a:lvl4pPr>
            <a:lvl5pPr marL="1028662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grpSp>
        <p:nvGrpSpPr>
          <p:cNvPr id="16" name="Pulse"/>
          <p:cNvGrpSpPr/>
          <p:nvPr userDrawn="1"/>
        </p:nvGrpSpPr>
        <p:grpSpPr>
          <a:xfrm>
            <a:off x="8751888" y="3030539"/>
            <a:ext cx="3446462" cy="3490913"/>
            <a:chOff x="8751888" y="3030538"/>
            <a:chExt cx="3446462" cy="3490913"/>
          </a:xfrm>
          <a:solidFill>
            <a:schemeClr val="accent1"/>
          </a:solidFill>
        </p:grpSpPr>
        <p:sp>
          <p:nvSpPr>
            <p:cNvPr id="17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8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9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23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24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</p:grpSp>
      <p:grpSp>
        <p:nvGrpSpPr>
          <p:cNvPr id="33" name="Logotype"/>
          <p:cNvGrpSpPr/>
          <p:nvPr userDrawn="1"/>
        </p:nvGrpSpPr>
        <p:grpSpPr>
          <a:xfrm>
            <a:off x="5371675" y="298073"/>
            <a:ext cx="1384039" cy="288609"/>
            <a:chOff x="9501453" y="6148765"/>
            <a:chExt cx="2047875" cy="427037"/>
          </a:xfrm>
          <a:solidFill>
            <a:schemeClr val="bg2"/>
          </a:solidFill>
        </p:grpSpPr>
        <p:sp>
          <p:nvSpPr>
            <p:cNvPr id="34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5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6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7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8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9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</p:spTree>
    <p:extLst>
      <p:ext uri="{BB962C8B-B14F-4D97-AF65-F5344CB8AC3E}">
        <p14:creationId xmlns:p14="http://schemas.microsoft.com/office/powerpoint/2010/main" val="33615719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Divider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EEFCC13-8B1A-4F82-BD77-9D33BEC25F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EEFCC13-8B1A-4F82-BD77-9D33BEC25F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2018" y="1089027"/>
            <a:ext cx="8402188" cy="999458"/>
          </a:xfrm>
        </p:spPr>
        <p:txBody>
          <a:bodyPr vert="horz" anchor="b" anchorCtr="0">
            <a:noAutofit/>
          </a:bodyPr>
          <a:lstStyle>
            <a:lvl1pPr algn="ctr">
              <a:defRPr sz="2900" b="1" cap="none" baseline="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72018" y="2160500"/>
            <a:ext cx="8402188" cy="720167"/>
          </a:xfrm>
        </p:spPr>
        <p:txBody>
          <a:bodyPr anchor="t" anchorCtr="0">
            <a:noAutofit/>
          </a:bodyPr>
          <a:lstStyle>
            <a:lvl1pPr marL="0" indent="0" algn="ctr">
              <a:buNone/>
              <a:defRPr sz="1899" b="1">
                <a:solidFill>
                  <a:schemeClr val="accent2"/>
                </a:solidFill>
              </a:defRPr>
            </a:lvl1pPr>
            <a:lvl2pPr marL="544334" indent="0">
              <a:buNone/>
              <a:defRPr sz="2099">
                <a:solidFill>
                  <a:schemeClr val="tx1">
                    <a:tint val="75000"/>
                  </a:schemeClr>
                </a:solidFill>
              </a:defRPr>
            </a:lvl2pPr>
            <a:lvl3pPr marL="1088667" indent="0">
              <a:buNone/>
              <a:defRPr sz="1899">
                <a:solidFill>
                  <a:schemeClr val="tx1">
                    <a:tint val="75000"/>
                  </a:schemeClr>
                </a:solidFill>
              </a:defRPr>
            </a:lvl3pPr>
            <a:lvl4pPr marL="1633001" indent="0">
              <a:buNone/>
              <a:defRPr sz="1699">
                <a:solidFill>
                  <a:schemeClr val="tx1">
                    <a:tint val="75000"/>
                  </a:schemeClr>
                </a:solidFill>
              </a:defRPr>
            </a:lvl4pPr>
            <a:lvl5pPr marL="2177334" indent="0">
              <a:buNone/>
              <a:defRPr sz="1699">
                <a:solidFill>
                  <a:schemeClr val="tx1">
                    <a:tint val="75000"/>
                  </a:schemeClr>
                </a:solidFill>
              </a:defRPr>
            </a:lvl5pPr>
            <a:lvl6pPr marL="2721667" indent="0">
              <a:buNone/>
              <a:defRPr sz="1699">
                <a:solidFill>
                  <a:schemeClr val="tx1">
                    <a:tint val="75000"/>
                  </a:schemeClr>
                </a:solidFill>
              </a:defRPr>
            </a:lvl6pPr>
            <a:lvl7pPr marL="3266001" indent="0">
              <a:buNone/>
              <a:defRPr sz="1699">
                <a:solidFill>
                  <a:schemeClr val="tx1">
                    <a:tint val="75000"/>
                  </a:schemeClr>
                </a:solidFill>
              </a:defRPr>
            </a:lvl7pPr>
            <a:lvl8pPr marL="3810335" indent="0">
              <a:buNone/>
              <a:defRPr sz="1699">
                <a:solidFill>
                  <a:schemeClr val="tx1">
                    <a:tint val="75000"/>
                  </a:schemeClr>
                </a:solidFill>
              </a:defRPr>
            </a:lvl8pPr>
            <a:lvl9pPr marL="4354668" indent="0">
              <a:buNone/>
              <a:defRPr sz="169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11" name="Pulse"/>
          <p:cNvGrpSpPr/>
          <p:nvPr userDrawn="1"/>
        </p:nvGrpSpPr>
        <p:grpSpPr>
          <a:xfrm>
            <a:off x="8751888" y="3030539"/>
            <a:ext cx="3446462" cy="3490913"/>
            <a:chOff x="8751888" y="3030538"/>
            <a:chExt cx="3446462" cy="3490913"/>
          </a:xfrm>
          <a:solidFill>
            <a:schemeClr val="accent1"/>
          </a:solidFill>
        </p:grpSpPr>
        <p:sp>
          <p:nvSpPr>
            <p:cNvPr id="12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3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5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6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17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</p:grpSp>
    </p:spTree>
    <p:extLst>
      <p:ext uri="{BB962C8B-B14F-4D97-AF65-F5344CB8AC3E}">
        <p14:creationId xmlns:p14="http://schemas.microsoft.com/office/powerpoint/2010/main" val="3427838520"/>
      </p:ext>
    </p:extLst>
  </p:cSld>
  <p:clrMapOvr>
    <a:masterClrMapping/>
  </p:clrMapOvr>
  <p:hf hdr="0" ft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Divider Pulse Pattern">
    <p:bg>
      <p:bgPr>
        <a:solidFill>
          <a:srgbClr val="FDEC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F2A8E87-1C5F-40F4-B2AE-214A3B4C4A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F2A8E87-1C5F-40F4-B2AE-214A3B4C4A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53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5175" cy="6859588"/>
          </a:xfrm>
        </p:spPr>
        <p:txBody>
          <a:bodyPr anchor="ctr" anchorCtr="0"/>
          <a:lstStyle>
            <a:lvl1pPr marL="0" marR="0" indent="0" algn="ctr" defTabSz="108866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Insert picture by using Nordea Image Bank button or use as pink slid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2018" y="1090800"/>
            <a:ext cx="8402188" cy="1000800"/>
          </a:xfrm>
        </p:spPr>
        <p:txBody>
          <a:bodyPr vert="horz" anchor="b" anchorCtr="0">
            <a:noAutofit/>
          </a:bodyPr>
          <a:lstStyle>
            <a:lvl1pPr algn="ctr">
              <a:defRPr sz="2900" b="1" cap="none" baseline="0">
                <a:solidFill>
                  <a:schemeClr val="bg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72018" y="2160500"/>
            <a:ext cx="8402188" cy="720167"/>
          </a:xfrm>
        </p:spPr>
        <p:txBody>
          <a:bodyPr anchor="t" anchorCtr="0">
            <a:noAutofit/>
          </a:bodyPr>
          <a:lstStyle>
            <a:lvl1pPr marL="0" indent="0" algn="ctr">
              <a:buNone/>
              <a:defRPr sz="1899" b="1">
                <a:solidFill>
                  <a:schemeClr val="tx2"/>
                </a:solidFill>
              </a:defRPr>
            </a:lvl1pPr>
            <a:lvl2pPr marL="544334" indent="0">
              <a:buNone/>
              <a:defRPr sz="2099">
                <a:solidFill>
                  <a:schemeClr val="tx1">
                    <a:tint val="75000"/>
                  </a:schemeClr>
                </a:solidFill>
              </a:defRPr>
            </a:lvl2pPr>
            <a:lvl3pPr marL="1088667" indent="0">
              <a:buNone/>
              <a:defRPr sz="1899">
                <a:solidFill>
                  <a:schemeClr val="tx1">
                    <a:tint val="75000"/>
                  </a:schemeClr>
                </a:solidFill>
              </a:defRPr>
            </a:lvl3pPr>
            <a:lvl4pPr marL="1633001" indent="0">
              <a:buNone/>
              <a:defRPr sz="1699">
                <a:solidFill>
                  <a:schemeClr val="tx1">
                    <a:tint val="75000"/>
                  </a:schemeClr>
                </a:solidFill>
              </a:defRPr>
            </a:lvl4pPr>
            <a:lvl5pPr marL="2177334" indent="0">
              <a:buNone/>
              <a:defRPr sz="1699">
                <a:solidFill>
                  <a:schemeClr val="tx1">
                    <a:tint val="75000"/>
                  </a:schemeClr>
                </a:solidFill>
              </a:defRPr>
            </a:lvl5pPr>
            <a:lvl6pPr marL="2721667" indent="0">
              <a:buNone/>
              <a:defRPr sz="1699">
                <a:solidFill>
                  <a:schemeClr val="tx1">
                    <a:tint val="75000"/>
                  </a:schemeClr>
                </a:solidFill>
              </a:defRPr>
            </a:lvl6pPr>
            <a:lvl7pPr marL="3266001" indent="0">
              <a:buNone/>
              <a:defRPr sz="1699">
                <a:solidFill>
                  <a:schemeClr val="tx1">
                    <a:tint val="75000"/>
                  </a:schemeClr>
                </a:solidFill>
              </a:defRPr>
            </a:lvl7pPr>
            <a:lvl8pPr marL="3810335" indent="0">
              <a:buNone/>
              <a:defRPr sz="1699">
                <a:solidFill>
                  <a:schemeClr val="tx1">
                    <a:tint val="75000"/>
                  </a:schemeClr>
                </a:solidFill>
              </a:defRPr>
            </a:lvl8pPr>
            <a:lvl9pPr marL="4354668" indent="0">
              <a:buNone/>
              <a:defRPr sz="169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28" name="Pulse"/>
          <p:cNvGrpSpPr/>
          <p:nvPr userDrawn="1"/>
        </p:nvGrpSpPr>
        <p:grpSpPr>
          <a:xfrm>
            <a:off x="1" y="2990851"/>
            <a:ext cx="12204000" cy="3559175"/>
            <a:chOff x="0" y="2990850"/>
            <a:chExt cx="12204700" cy="3559175"/>
          </a:xfrm>
          <a:solidFill>
            <a:srgbClr val="0000A0"/>
          </a:solidFill>
        </p:grpSpPr>
        <p:sp>
          <p:nvSpPr>
            <p:cNvPr id="29" name="Freeform 5"/>
            <p:cNvSpPr>
              <a:spLocks/>
            </p:cNvSpPr>
            <p:nvPr userDrawn="1"/>
          </p:nvSpPr>
          <p:spPr bwMode="auto">
            <a:xfrm>
              <a:off x="1820863" y="4627563"/>
              <a:ext cx="260350" cy="439738"/>
            </a:xfrm>
            <a:custGeom>
              <a:avLst/>
              <a:gdLst>
                <a:gd name="T0" fmla="*/ 41 w 82"/>
                <a:gd name="T1" fmla="*/ 138 h 138"/>
                <a:gd name="T2" fmla="*/ 41 w 82"/>
                <a:gd name="T3" fmla="*/ 138 h 138"/>
                <a:gd name="T4" fmla="*/ 0 w 82"/>
                <a:gd name="T5" fmla="*/ 96 h 138"/>
                <a:gd name="T6" fmla="*/ 0 w 82"/>
                <a:gd name="T7" fmla="*/ 41 h 138"/>
                <a:gd name="T8" fmla="*/ 41 w 82"/>
                <a:gd name="T9" fmla="*/ 0 h 138"/>
                <a:gd name="T10" fmla="*/ 82 w 82"/>
                <a:gd name="T11" fmla="*/ 41 h 138"/>
                <a:gd name="T12" fmla="*/ 82 w 82"/>
                <a:gd name="T13" fmla="*/ 96 h 138"/>
                <a:gd name="T14" fmla="*/ 41 w 82"/>
                <a:gd name="T15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38">
                  <a:moveTo>
                    <a:pt x="41" y="138"/>
                  </a:moveTo>
                  <a:cubicBezTo>
                    <a:pt x="41" y="138"/>
                    <a:pt x="41" y="138"/>
                    <a:pt x="41" y="138"/>
                  </a:cubicBezTo>
                  <a:cubicBezTo>
                    <a:pt x="19" y="138"/>
                    <a:pt x="0" y="119"/>
                    <a:pt x="0" y="96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19"/>
                    <a:pt x="19" y="0"/>
                    <a:pt x="41" y="0"/>
                  </a:cubicBezTo>
                  <a:cubicBezTo>
                    <a:pt x="64" y="0"/>
                    <a:pt x="82" y="19"/>
                    <a:pt x="82" y="41"/>
                  </a:cubicBezTo>
                  <a:cubicBezTo>
                    <a:pt x="82" y="96"/>
                    <a:pt x="82" y="96"/>
                    <a:pt x="82" y="96"/>
                  </a:cubicBezTo>
                  <a:cubicBezTo>
                    <a:pt x="82" y="119"/>
                    <a:pt x="64" y="138"/>
                    <a:pt x="41" y="13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4" name="Freeform 6"/>
            <p:cNvSpPr>
              <a:spLocks/>
            </p:cNvSpPr>
            <p:nvPr userDrawn="1"/>
          </p:nvSpPr>
          <p:spPr bwMode="auto">
            <a:xfrm>
              <a:off x="1211263" y="4605338"/>
              <a:ext cx="434975" cy="1092200"/>
            </a:xfrm>
            <a:custGeom>
              <a:avLst/>
              <a:gdLst>
                <a:gd name="T0" fmla="*/ 69 w 137"/>
                <a:gd name="T1" fmla="*/ 343 h 343"/>
                <a:gd name="T2" fmla="*/ 69 w 137"/>
                <a:gd name="T3" fmla="*/ 343 h 343"/>
                <a:gd name="T4" fmla="*/ 0 w 137"/>
                <a:gd name="T5" fmla="*/ 275 h 343"/>
                <a:gd name="T6" fmla="*/ 0 w 137"/>
                <a:gd name="T7" fmla="*/ 69 h 343"/>
                <a:gd name="T8" fmla="*/ 69 w 137"/>
                <a:gd name="T9" fmla="*/ 0 h 343"/>
                <a:gd name="T10" fmla="*/ 137 w 137"/>
                <a:gd name="T11" fmla="*/ 69 h 343"/>
                <a:gd name="T12" fmla="*/ 137 w 137"/>
                <a:gd name="T13" fmla="*/ 275 h 343"/>
                <a:gd name="T14" fmla="*/ 69 w 137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7" h="343">
                  <a:moveTo>
                    <a:pt x="69" y="343"/>
                  </a:moveTo>
                  <a:cubicBezTo>
                    <a:pt x="69" y="343"/>
                    <a:pt x="69" y="343"/>
                    <a:pt x="69" y="343"/>
                  </a:cubicBezTo>
                  <a:cubicBezTo>
                    <a:pt x="31" y="343"/>
                    <a:pt x="0" y="313"/>
                    <a:pt x="0" y="275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1" y="0"/>
                    <a:pt x="69" y="0"/>
                  </a:cubicBezTo>
                  <a:cubicBezTo>
                    <a:pt x="106" y="0"/>
                    <a:pt x="137" y="31"/>
                    <a:pt x="137" y="69"/>
                  </a:cubicBezTo>
                  <a:cubicBezTo>
                    <a:pt x="137" y="275"/>
                    <a:pt x="137" y="275"/>
                    <a:pt x="137" y="275"/>
                  </a:cubicBezTo>
                  <a:cubicBezTo>
                    <a:pt x="137" y="313"/>
                    <a:pt x="106" y="343"/>
                    <a:pt x="69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5" name="Freeform 7"/>
            <p:cNvSpPr>
              <a:spLocks/>
            </p:cNvSpPr>
            <p:nvPr userDrawn="1"/>
          </p:nvSpPr>
          <p:spPr bwMode="auto">
            <a:xfrm>
              <a:off x="447675" y="4105275"/>
              <a:ext cx="544513" cy="2444750"/>
            </a:xfrm>
            <a:custGeom>
              <a:avLst/>
              <a:gdLst>
                <a:gd name="T0" fmla="*/ 86 w 171"/>
                <a:gd name="T1" fmla="*/ 768 h 768"/>
                <a:gd name="T2" fmla="*/ 86 w 171"/>
                <a:gd name="T3" fmla="*/ 768 h 768"/>
                <a:gd name="T4" fmla="*/ 0 w 171"/>
                <a:gd name="T5" fmla="*/ 682 h 768"/>
                <a:gd name="T6" fmla="*/ 0 w 171"/>
                <a:gd name="T7" fmla="*/ 85 h 768"/>
                <a:gd name="T8" fmla="*/ 86 w 171"/>
                <a:gd name="T9" fmla="*/ 0 h 768"/>
                <a:gd name="T10" fmla="*/ 171 w 171"/>
                <a:gd name="T11" fmla="*/ 85 h 768"/>
                <a:gd name="T12" fmla="*/ 171 w 171"/>
                <a:gd name="T13" fmla="*/ 682 h 768"/>
                <a:gd name="T14" fmla="*/ 86 w 171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768">
                  <a:moveTo>
                    <a:pt x="86" y="768"/>
                  </a:moveTo>
                  <a:cubicBezTo>
                    <a:pt x="86" y="768"/>
                    <a:pt x="86" y="768"/>
                    <a:pt x="86" y="768"/>
                  </a:cubicBezTo>
                  <a:cubicBezTo>
                    <a:pt x="38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8" y="0"/>
                    <a:pt x="86" y="0"/>
                  </a:cubicBezTo>
                  <a:cubicBezTo>
                    <a:pt x="133" y="0"/>
                    <a:pt x="171" y="38"/>
                    <a:pt x="171" y="85"/>
                  </a:cubicBezTo>
                  <a:cubicBezTo>
                    <a:pt x="171" y="682"/>
                    <a:pt x="171" y="682"/>
                    <a:pt x="171" y="682"/>
                  </a:cubicBezTo>
                  <a:cubicBezTo>
                    <a:pt x="171" y="730"/>
                    <a:pt x="133" y="768"/>
                    <a:pt x="86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6" name="Freeform 8"/>
            <p:cNvSpPr>
              <a:spLocks/>
            </p:cNvSpPr>
            <p:nvPr userDrawn="1"/>
          </p:nvSpPr>
          <p:spPr bwMode="auto">
            <a:xfrm>
              <a:off x="10529888" y="3994150"/>
              <a:ext cx="434975" cy="1092200"/>
            </a:xfrm>
            <a:custGeom>
              <a:avLst/>
              <a:gdLst>
                <a:gd name="T0" fmla="*/ 69 w 137"/>
                <a:gd name="T1" fmla="*/ 343 h 343"/>
                <a:gd name="T2" fmla="*/ 69 w 137"/>
                <a:gd name="T3" fmla="*/ 343 h 343"/>
                <a:gd name="T4" fmla="*/ 0 w 137"/>
                <a:gd name="T5" fmla="*/ 275 h 343"/>
                <a:gd name="T6" fmla="*/ 0 w 137"/>
                <a:gd name="T7" fmla="*/ 69 h 343"/>
                <a:gd name="T8" fmla="*/ 69 w 137"/>
                <a:gd name="T9" fmla="*/ 0 h 343"/>
                <a:gd name="T10" fmla="*/ 137 w 137"/>
                <a:gd name="T11" fmla="*/ 69 h 343"/>
                <a:gd name="T12" fmla="*/ 137 w 137"/>
                <a:gd name="T13" fmla="*/ 275 h 343"/>
                <a:gd name="T14" fmla="*/ 69 w 137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7" h="343">
                  <a:moveTo>
                    <a:pt x="69" y="343"/>
                  </a:moveTo>
                  <a:cubicBezTo>
                    <a:pt x="69" y="343"/>
                    <a:pt x="69" y="343"/>
                    <a:pt x="69" y="343"/>
                  </a:cubicBezTo>
                  <a:cubicBezTo>
                    <a:pt x="31" y="343"/>
                    <a:pt x="0" y="313"/>
                    <a:pt x="0" y="275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1" y="0"/>
                    <a:pt x="69" y="0"/>
                  </a:cubicBezTo>
                  <a:cubicBezTo>
                    <a:pt x="107" y="0"/>
                    <a:pt x="137" y="31"/>
                    <a:pt x="137" y="69"/>
                  </a:cubicBezTo>
                  <a:cubicBezTo>
                    <a:pt x="137" y="275"/>
                    <a:pt x="137" y="275"/>
                    <a:pt x="137" y="275"/>
                  </a:cubicBezTo>
                  <a:cubicBezTo>
                    <a:pt x="137" y="313"/>
                    <a:pt x="107" y="343"/>
                    <a:pt x="69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7" name="Freeform 9"/>
            <p:cNvSpPr>
              <a:spLocks/>
            </p:cNvSpPr>
            <p:nvPr userDrawn="1"/>
          </p:nvSpPr>
          <p:spPr bwMode="auto">
            <a:xfrm>
              <a:off x="10094913" y="4627563"/>
              <a:ext cx="260350" cy="439738"/>
            </a:xfrm>
            <a:custGeom>
              <a:avLst/>
              <a:gdLst>
                <a:gd name="T0" fmla="*/ 41 w 82"/>
                <a:gd name="T1" fmla="*/ 138 h 138"/>
                <a:gd name="T2" fmla="*/ 41 w 82"/>
                <a:gd name="T3" fmla="*/ 138 h 138"/>
                <a:gd name="T4" fmla="*/ 0 w 82"/>
                <a:gd name="T5" fmla="*/ 96 h 138"/>
                <a:gd name="T6" fmla="*/ 0 w 82"/>
                <a:gd name="T7" fmla="*/ 41 h 138"/>
                <a:gd name="T8" fmla="*/ 41 w 82"/>
                <a:gd name="T9" fmla="*/ 0 h 138"/>
                <a:gd name="T10" fmla="*/ 82 w 82"/>
                <a:gd name="T11" fmla="*/ 41 h 138"/>
                <a:gd name="T12" fmla="*/ 82 w 82"/>
                <a:gd name="T13" fmla="*/ 96 h 138"/>
                <a:gd name="T14" fmla="*/ 41 w 82"/>
                <a:gd name="T15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38">
                  <a:moveTo>
                    <a:pt x="41" y="138"/>
                  </a:moveTo>
                  <a:cubicBezTo>
                    <a:pt x="41" y="138"/>
                    <a:pt x="41" y="138"/>
                    <a:pt x="41" y="138"/>
                  </a:cubicBezTo>
                  <a:cubicBezTo>
                    <a:pt x="18" y="138"/>
                    <a:pt x="0" y="119"/>
                    <a:pt x="0" y="96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19"/>
                    <a:pt x="18" y="0"/>
                    <a:pt x="41" y="0"/>
                  </a:cubicBezTo>
                  <a:cubicBezTo>
                    <a:pt x="63" y="0"/>
                    <a:pt x="82" y="19"/>
                    <a:pt x="82" y="41"/>
                  </a:cubicBezTo>
                  <a:cubicBezTo>
                    <a:pt x="82" y="96"/>
                    <a:pt x="82" y="96"/>
                    <a:pt x="82" y="96"/>
                  </a:cubicBezTo>
                  <a:cubicBezTo>
                    <a:pt x="82" y="119"/>
                    <a:pt x="63" y="138"/>
                    <a:pt x="41" y="13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8" name="Freeform 10"/>
            <p:cNvSpPr>
              <a:spLocks/>
            </p:cNvSpPr>
            <p:nvPr userDrawn="1"/>
          </p:nvSpPr>
          <p:spPr bwMode="auto">
            <a:xfrm>
              <a:off x="11183938" y="3144838"/>
              <a:ext cx="544513" cy="2444750"/>
            </a:xfrm>
            <a:custGeom>
              <a:avLst/>
              <a:gdLst>
                <a:gd name="T0" fmla="*/ 86 w 171"/>
                <a:gd name="T1" fmla="*/ 768 h 768"/>
                <a:gd name="T2" fmla="*/ 86 w 171"/>
                <a:gd name="T3" fmla="*/ 768 h 768"/>
                <a:gd name="T4" fmla="*/ 0 w 171"/>
                <a:gd name="T5" fmla="*/ 682 h 768"/>
                <a:gd name="T6" fmla="*/ 0 w 171"/>
                <a:gd name="T7" fmla="*/ 85 h 768"/>
                <a:gd name="T8" fmla="*/ 86 w 171"/>
                <a:gd name="T9" fmla="*/ 0 h 768"/>
                <a:gd name="T10" fmla="*/ 171 w 171"/>
                <a:gd name="T11" fmla="*/ 85 h 768"/>
                <a:gd name="T12" fmla="*/ 171 w 171"/>
                <a:gd name="T13" fmla="*/ 682 h 768"/>
                <a:gd name="T14" fmla="*/ 86 w 171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768">
                  <a:moveTo>
                    <a:pt x="86" y="768"/>
                  </a:moveTo>
                  <a:cubicBezTo>
                    <a:pt x="86" y="768"/>
                    <a:pt x="86" y="768"/>
                    <a:pt x="86" y="768"/>
                  </a:cubicBezTo>
                  <a:cubicBezTo>
                    <a:pt x="38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8" y="0"/>
                    <a:pt x="86" y="0"/>
                  </a:cubicBezTo>
                  <a:cubicBezTo>
                    <a:pt x="133" y="0"/>
                    <a:pt x="171" y="38"/>
                    <a:pt x="171" y="85"/>
                  </a:cubicBezTo>
                  <a:cubicBezTo>
                    <a:pt x="171" y="682"/>
                    <a:pt x="171" y="682"/>
                    <a:pt x="171" y="682"/>
                  </a:cubicBezTo>
                  <a:cubicBezTo>
                    <a:pt x="171" y="730"/>
                    <a:pt x="133" y="768"/>
                    <a:pt x="86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9" name="Freeform 11"/>
            <p:cNvSpPr>
              <a:spLocks noEditPoints="1"/>
            </p:cNvSpPr>
            <p:nvPr userDrawn="1"/>
          </p:nvSpPr>
          <p:spPr bwMode="auto">
            <a:xfrm>
              <a:off x="7742238" y="4083050"/>
              <a:ext cx="434975" cy="1092200"/>
            </a:xfrm>
            <a:custGeom>
              <a:avLst/>
              <a:gdLst>
                <a:gd name="T0" fmla="*/ 69 w 137"/>
                <a:gd name="T1" fmla="*/ 13 h 343"/>
                <a:gd name="T2" fmla="*/ 124 w 137"/>
                <a:gd name="T3" fmla="*/ 68 h 343"/>
                <a:gd name="T4" fmla="*/ 124 w 137"/>
                <a:gd name="T5" fmla="*/ 274 h 343"/>
                <a:gd name="T6" fmla="*/ 69 w 137"/>
                <a:gd name="T7" fmla="*/ 329 h 343"/>
                <a:gd name="T8" fmla="*/ 14 w 137"/>
                <a:gd name="T9" fmla="*/ 274 h 343"/>
                <a:gd name="T10" fmla="*/ 14 w 137"/>
                <a:gd name="T11" fmla="*/ 68 h 343"/>
                <a:gd name="T12" fmla="*/ 69 w 137"/>
                <a:gd name="T13" fmla="*/ 13 h 343"/>
                <a:gd name="T14" fmla="*/ 69 w 137"/>
                <a:gd name="T15" fmla="*/ 0 h 343"/>
                <a:gd name="T16" fmla="*/ 69 w 137"/>
                <a:gd name="T17" fmla="*/ 0 h 343"/>
                <a:gd name="T18" fmla="*/ 0 w 137"/>
                <a:gd name="T19" fmla="*/ 68 h 343"/>
                <a:gd name="T20" fmla="*/ 0 w 137"/>
                <a:gd name="T21" fmla="*/ 274 h 343"/>
                <a:gd name="T22" fmla="*/ 69 w 137"/>
                <a:gd name="T23" fmla="*/ 343 h 343"/>
                <a:gd name="T24" fmla="*/ 137 w 137"/>
                <a:gd name="T25" fmla="*/ 274 h 343"/>
                <a:gd name="T26" fmla="*/ 137 w 137"/>
                <a:gd name="T27" fmla="*/ 68 h 343"/>
                <a:gd name="T28" fmla="*/ 69 w 137"/>
                <a:gd name="T29" fmla="*/ 0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7" h="343">
                  <a:moveTo>
                    <a:pt x="69" y="13"/>
                  </a:moveTo>
                  <a:cubicBezTo>
                    <a:pt x="99" y="13"/>
                    <a:pt x="124" y="38"/>
                    <a:pt x="124" y="68"/>
                  </a:cubicBezTo>
                  <a:cubicBezTo>
                    <a:pt x="124" y="274"/>
                    <a:pt x="124" y="274"/>
                    <a:pt x="124" y="274"/>
                  </a:cubicBezTo>
                  <a:cubicBezTo>
                    <a:pt x="124" y="304"/>
                    <a:pt x="99" y="329"/>
                    <a:pt x="69" y="329"/>
                  </a:cubicBezTo>
                  <a:cubicBezTo>
                    <a:pt x="39" y="329"/>
                    <a:pt x="14" y="304"/>
                    <a:pt x="14" y="274"/>
                  </a:cubicBezTo>
                  <a:cubicBezTo>
                    <a:pt x="14" y="68"/>
                    <a:pt x="14" y="68"/>
                    <a:pt x="14" y="68"/>
                  </a:cubicBezTo>
                  <a:cubicBezTo>
                    <a:pt x="14" y="38"/>
                    <a:pt x="39" y="13"/>
                    <a:pt x="69" y="13"/>
                  </a:cubicBezTo>
                  <a:moveTo>
                    <a:pt x="69" y="0"/>
                  </a:moveTo>
                  <a:cubicBezTo>
                    <a:pt x="69" y="0"/>
                    <a:pt x="69" y="0"/>
                    <a:pt x="69" y="0"/>
                  </a:cubicBezTo>
                  <a:cubicBezTo>
                    <a:pt x="31" y="0"/>
                    <a:pt x="0" y="30"/>
                    <a:pt x="0" y="68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0" y="312"/>
                    <a:pt x="31" y="343"/>
                    <a:pt x="69" y="343"/>
                  </a:cubicBezTo>
                  <a:cubicBezTo>
                    <a:pt x="107" y="343"/>
                    <a:pt x="137" y="312"/>
                    <a:pt x="137" y="274"/>
                  </a:cubicBezTo>
                  <a:cubicBezTo>
                    <a:pt x="137" y="68"/>
                    <a:pt x="137" y="68"/>
                    <a:pt x="137" y="68"/>
                  </a:cubicBezTo>
                  <a:cubicBezTo>
                    <a:pt x="137" y="30"/>
                    <a:pt x="107" y="0"/>
                    <a:pt x="6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0" name="Freeform 12"/>
            <p:cNvSpPr>
              <a:spLocks/>
            </p:cNvSpPr>
            <p:nvPr userDrawn="1"/>
          </p:nvSpPr>
          <p:spPr bwMode="auto">
            <a:xfrm>
              <a:off x="9480550" y="4605338"/>
              <a:ext cx="439738" cy="1092200"/>
            </a:xfrm>
            <a:custGeom>
              <a:avLst/>
              <a:gdLst>
                <a:gd name="T0" fmla="*/ 69 w 138"/>
                <a:gd name="T1" fmla="*/ 343 h 343"/>
                <a:gd name="T2" fmla="*/ 69 w 138"/>
                <a:gd name="T3" fmla="*/ 343 h 343"/>
                <a:gd name="T4" fmla="*/ 0 w 138"/>
                <a:gd name="T5" fmla="*/ 275 h 343"/>
                <a:gd name="T6" fmla="*/ 0 w 138"/>
                <a:gd name="T7" fmla="*/ 69 h 343"/>
                <a:gd name="T8" fmla="*/ 69 w 138"/>
                <a:gd name="T9" fmla="*/ 0 h 343"/>
                <a:gd name="T10" fmla="*/ 138 w 138"/>
                <a:gd name="T11" fmla="*/ 69 h 343"/>
                <a:gd name="T12" fmla="*/ 138 w 138"/>
                <a:gd name="T13" fmla="*/ 275 h 343"/>
                <a:gd name="T14" fmla="*/ 69 w 138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8" h="343">
                  <a:moveTo>
                    <a:pt x="69" y="343"/>
                  </a:moveTo>
                  <a:cubicBezTo>
                    <a:pt x="69" y="343"/>
                    <a:pt x="69" y="343"/>
                    <a:pt x="69" y="343"/>
                  </a:cubicBezTo>
                  <a:cubicBezTo>
                    <a:pt x="31" y="343"/>
                    <a:pt x="0" y="313"/>
                    <a:pt x="0" y="275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1" y="0"/>
                    <a:pt x="69" y="0"/>
                  </a:cubicBezTo>
                  <a:cubicBezTo>
                    <a:pt x="107" y="0"/>
                    <a:pt x="138" y="31"/>
                    <a:pt x="138" y="69"/>
                  </a:cubicBezTo>
                  <a:cubicBezTo>
                    <a:pt x="138" y="275"/>
                    <a:pt x="138" y="275"/>
                    <a:pt x="138" y="275"/>
                  </a:cubicBezTo>
                  <a:cubicBezTo>
                    <a:pt x="138" y="313"/>
                    <a:pt x="107" y="343"/>
                    <a:pt x="69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1" name="Freeform 13"/>
            <p:cNvSpPr>
              <a:spLocks noEditPoints="1"/>
            </p:cNvSpPr>
            <p:nvPr userDrawn="1"/>
          </p:nvSpPr>
          <p:spPr bwMode="auto">
            <a:xfrm>
              <a:off x="8397875" y="3230563"/>
              <a:ext cx="546100" cy="2447925"/>
            </a:xfrm>
            <a:custGeom>
              <a:avLst/>
              <a:gdLst>
                <a:gd name="T0" fmla="*/ 86 w 172"/>
                <a:gd name="T1" fmla="*/ 14 h 769"/>
                <a:gd name="T2" fmla="*/ 158 w 172"/>
                <a:gd name="T3" fmla="*/ 86 h 769"/>
                <a:gd name="T4" fmla="*/ 158 w 172"/>
                <a:gd name="T5" fmla="*/ 683 h 769"/>
                <a:gd name="T6" fmla="*/ 86 w 172"/>
                <a:gd name="T7" fmla="*/ 755 h 769"/>
                <a:gd name="T8" fmla="*/ 14 w 172"/>
                <a:gd name="T9" fmla="*/ 683 h 769"/>
                <a:gd name="T10" fmla="*/ 14 w 172"/>
                <a:gd name="T11" fmla="*/ 86 h 769"/>
                <a:gd name="T12" fmla="*/ 86 w 172"/>
                <a:gd name="T13" fmla="*/ 14 h 769"/>
                <a:gd name="T14" fmla="*/ 86 w 172"/>
                <a:gd name="T15" fmla="*/ 0 h 769"/>
                <a:gd name="T16" fmla="*/ 0 w 172"/>
                <a:gd name="T17" fmla="*/ 86 h 769"/>
                <a:gd name="T18" fmla="*/ 0 w 172"/>
                <a:gd name="T19" fmla="*/ 683 h 769"/>
                <a:gd name="T20" fmla="*/ 86 w 172"/>
                <a:gd name="T21" fmla="*/ 769 h 769"/>
                <a:gd name="T22" fmla="*/ 172 w 172"/>
                <a:gd name="T23" fmla="*/ 683 h 769"/>
                <a:gd name="T24" fmla="*/ 172 w 172"/>
                <a:gd name="T25" fmla="*/ 86 h 769"/>
                <a:gd name="T26" fmla="*/ 86 w 172"/>
                <a:gd name="T27" fmla="*/ 0 h 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2" h="769">
                  <a:moveTo>
                    <a:pt x="86" y="14"/>
                  </a:moveTo>
                  <a:cubicBezTo>
                    <a:pt x="126" y="14"/>
                    <a:pt x="158" y="46"/>
                    <a:pt x="158" y="86"/>
                  </a:cubicBezTo>
                  <a:cubicBezTo>
                    <a:pt x="158" y="683"/>
                    <a:pt x="158" y="683"/>
                    <a:pt x="158" y="683"/>
                  </a:cubicBezTo>
                  <a:cubicBezTo>
                    <a:pt x="158" y="723"/>
                    <a:pt x="126" y="755"/>
                    <a:pt x="86" y="755"/>
                  </a:cubicBezTo>
                  <a:cubicBezTo>
                    <a:pt x="46" y="755"/>
                    <a:pt x="14" y="723"/>
                    <a:pt x="14" y="683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4" y="46"/>
                    <a:pt x="46" y="14"/>
                    <a:pt x="86" y="14"/>
                  </a:cubicBezTo>
                  <a:moveTo>
                    <a:pt x="86" y="0"/>
                  </a:moveTo>
                  <a:cubicBezTo>
                    <a:pt x="38" y="0"/>
                    <a:pt x="0" y="39"/>
                    <a:pt x="0" y="86"/>
                  </a:cubicBezTo>
                  <a:cubicBezTo>
                    <a:pt x="0" y="683"/>
                    <a:pt x="0" y="683"/>
                    <a:pt x="0" y="683"/>
                  </a:cubicBezTo>
                  <a:cubicBezTo>
                    <a:pt x="0" y="730"/>
                    <a:pt x="38" y="769"/>
                    <a:pt x="86" y="769"/>
                  </a:cubicBezTo>
                  <a:cubicBezTo>
                    <a:pt x="133" y="769"/>
                    <a:pt x="172" y="730"/>
                    <a:pt x="172" y="683"/>
                  </a:cubicBezTo>
                  <a:cubicBezTo>
                    <a:pt x="172" y="86"/>
                    <a:pt x="172" y="86"/>
                    <a:pt x="172" y="86"/>
                  </a:cubicBezTo>
                  <a:cubicBezTo>
                    <a:pt x="172" y="39"/>
                    <a:pt x="133" y="0"/>
                    <a:pt x="8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2" name="Freeform 14"/>
            <p:cNvSpPr>
              <a:spLocks noEditPoints="1"/>
            </p:cNvSpPr>
            <p:nvPr userDrawn="1"/>
          </p:nvSpPr>
          <p:spPr bwMode="auto">
            <a:xfrm>
              <a:off x="1951038" y="4083050"/>
              <a:ext cx="439738" cy="1092200"/>
            </a:xfrm>
            <a:custGeom>
              <a:avLst/>
              <a:gdLst>
                <a:gd name="T0" fmla="*/ 69 w 138"/>
                <a:gd name="T1" fmla="*/ 13 h 343"/>
                <a:gd name="T2" fmla="*/ 124 w 138"/>
                <a:gd name="T3" fmla="*/ 68 h 343"/>
                <a:gd name="T4" fmla="*/ 124 w 138"/>
                <a:gd name="T5" fmla="*/ 274 h 343"/>
                <a:gd name="T6" fmla="*/ 69 w 138"/>
                <a:gd name="T7" fmla="*/ 329 h 343"/>
                <a:gd name="T8" fmla="*/ 14 w 138"/>
                <a:gd name="T9" fmla="*/ 274 h 343"/>
                <a:gd name="T10" fmla="*/ 14 w 138"/>
                <a:gd name="T11" fmla="*/ 68 h 343"/>
                <a:gd name="T12" fmla="*/ 69 w 138"/>
                <a:gd name="T13" fmla="*/ 13 h 343"/>
                <a:gd name="T14" fmla="*/ 69 w 138"/>
                <a:gd name="T15" fmla="*/ 0 h 343"/>
                <a:gd name="T16" fmla="*/ 0 w 138"/>
                <a:gd name="T17" fmla="*/ 68 h 343"/>
                <a:gd name="T18" fmla="*/ 0 w 138"/>
                <a:gd name="T19" fmla="*/ 274 h 343"/>
                <a:gd name="T20" fmla="*/ 69 w 138"/>
                <a:gd name="T21" fmla="*/ 343 h 343"/>
                <a:gd name="T22" fmla="*/ 138 w 138"/>
                <a:gd name="T23" fmla="*/ 274 h 343"/>
                <a:gd name="T24" fmla="*/ 138 w 138"/>
                <a:gd name="T25" fmla="*/ 68 h 343"/>
                <a:gd name="T26" fmla="*/ 69 w 138"/>
                <a:gd name="T27" fmla="*/ 0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8" h="343">
                  <a:moveTo>
                    <a:pt x="69" y="13"/>
                  </a:moveTo>
                  <a:cubicBezTo>
                    <a:pt x="99" y="13"/>
                    <a:pt x="124" y="38"/>
                    <a:pt x="124" y="68"/>
                  </a:cubicBezTo>
                  <a:cubicBezTo>
                    <a:pt x="124" y="274"/>
                    <a:pt x="124" y="274"/>
                    <a:pt x="124" y="274"/>
                  </a:cubicBezTo>
                  <a:cubicBezTo>
                    <a:pt x="124" y="304"/>
                    <a:pt x="99" y="329"/>
                    <a:pt x="69" y="329"/>
                  </a:cubicBezTo>
                  <a:cubicBezTo>
                    <a:pt x="39" y="329"/>
                    <a:pt x="14" y="304"/>
                    <a:pt x="14" y="274"/>
                  </a:cubicBezTo>
                  <a:cubicBezTo>
                    <a:pt x="14" y="68"/>
                    <a:pt x="14" y="68"/>
                    <a:pt x="14" y="68"/>
                  </a:cubicBezTo>
                  <a:cubicBezTo>
                    <a:pt x="14" y="38"/>
                    <a:pt x="39" y="13"/>
                    <a:pt x="69" y="13"/>
                  </a:cubicBezTo>
                  <a:moveTo>
                    <a:pt x="69" y="0"/>
                  </a:moveTo>
                  <a:cubicBezTo>
                    <a:pt x="31" y="0"/>
                    <a:pt x="0" y="30"/>
                    <a:pt x="0" y="68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0" y="312"/>
                    <a:pt x="31" y="343"/>
                    <a:pt x="69" y="343"/>
                  </a:cubicBezTo>
                  <a:cubicBezTo>
                    <a:pt x="107" y="343"/>
                    <a:pt x="138" y="312"/>
                    <a:pt x="138" y="274"/>
                  </a:cubicBezTo>
                  <a:cubicBezTo>
                    <a:pt x="138" y="68"/>
                    <a:pt x="138" y="68"/>
                    <a:pt x="138" y="68"/>
                  </a:cubicBezTo>
                  <a:cubicBezTo>
                    <a:pt x="138" y="30"/>
                    <a:pt x="107" y="0"/>
                    <a:pt x="6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3" name="Freeform 15"/>
            <p:cNvSpPr>
              <a:spLocks noEditPoints="1"/>
            </p:cNvSpPr>
            <p:nvPr userDrawn="1"/>
          </p:nvSpPr>
          <p:spPr bwMode="auto">
            <a:xfrm>
              <a:off x="2606675" y="3230563"/>
              <a:ext cx="546100" cy="2447925"/>
            </a:xfrm>
            <a:custGeom>
              <a:avLst/>
              <a:gdLst>
                <a:gd name="T0" fmla="*/ 86 w 172"/>
                <a:gd name="T1" fmla="*/ 14 h 769"/>
                <a:gd name="T2" fmla="*/ 158 w 172"/>
                <a:gd name="T3" fmla="*/ 86 h 769"/>
                <a:gd name="T4" fmla="*/ 158 w 172"/>
                <a:gd name="T5" fmla="*/ 683 h 769"/>
                <a:gd name="T6" fmla="*/ 86 w 172"/>
                <a:gd name="T7" fmla="*/ 755 h 769"/>
                <a:gd name="T8" fmla="*/ 14 w 172"/>
                <a:gd name="T9" fmla="*/ 683 h 769"/>
                <a:gd name="T10" fmla="*/ 14 w 172"/>
                <a:gd name="T11" fmla="*/ 86 h 769"/>
                <a:gd name="T12" fmla="*/ 86 w 172"/>
                <a:gd name="T13" fmla="*/ 14 h 769"/>
                <a:gd name="T14" fmla="*/ 86 w 172"/>
                <a:gd name="T15" fmla="*/ 0 h 769"/>
                <a:gd name="T16" fmla="*/ 0 w 172"/>
                <a:gd name="T17" fmla="*/ 86 h 769"/>
                <a:gd name="T18" fmla="*/ 0 w 172"/>
                <a:gd name="T19" fmla="*/ 683 h 769"/>
                <a:gd name="T20" fmla="*/ 86 w 172"/>
                <a:gd name="T21" fmla="*/ 769 h 769"/>
                <a:gd name="T22" fmla="*/ 172 w 172"/>
                <a:gd name="T23" fmla="*/ 683 h 769"/>
                <a:gd name="T24" fmla="*/ 172 w 172"/>
                <a:gd name="T25" fmla="*/ 86 h 769"/>
                <a:gd name="T26" fmla="*/ 86 w 172"/>
                <a:gd name="T27" fmla="*/ 0 h 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2" h="769">
                  <a:moveTo>
                    <a:pt x="86" y="14"/>
                  </a:moveTo>
                  <a:cubicBezTo>
                    <a:pt x="126" y="14"/>
                    <a:pt x="158" y="46"/>
                    <a:pt x="158" y="86"/>
                  </a:cubicBezTo>
                  <a:cubicBezTo>
                    <a:pt x="158" y="683"/>
                    <a:pt x="158" y="683"/>
                    <a:pt x="158" y="683"/>
                  </a:cubicBezTo>
                  <a:cubicBezTo>
                    <a:pt x="158" y="723"/>
                    <a:pt x="126" y="755"/>
                    <a:pt x="86" y="755"/>
                  </a:cubicBezTo>
                  <a:cubicBezTo>
                    <a:pt x="46" y="755"/>
                    <a:pt x="14" y="723"/>
                    <a:pt x="14" y="683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4" y="46"/>
                    <a:pt x="46" y="14"/>
                    <a:pt x="86" y="14"/>
                  </a:cubicBezTo>
                  <a:moveTo>
                    <a:pt x="86" y="0"/>
                  </a:moveTo>
                  <a:cubicBezTo>
                    <a:pt x="39" y="0"/>
                    <a:pt x="0" y="39"/>
                    <a:pt x="0" y="86"/>
                  </a:cubicBezTo>
                  <a:cubicBezTo>
                    <a:pt x="0" y="683"/>
                    <a:pt x="0" y="683"/>
                    <a:pt x="0" y="683"/>
                  </a:cubicBezTo>
                  <a:cubicBezTo>
                    <a:pt x="0" y="730"/>
                    <a:pt x="39" y="769"/>
                    <a:pt x="86" y="769"/>
                  </a:cubicBezTo>
                  <a:cubicBezTo>
                    <a:pt x="133" y="769"/>
                    <a:pt x="172" y="730"/>
                    <a:pt x="172" y="683"/>
                  </a:cubicBezTo>
                  <a:cubicBezTo>
                    <a:pt x="172" y="86"/>
                    <a:pt x="172" y="86"/>
                    <a:pt x="172" y="86"/>
                  </a:cubicBezTo>
                  <a:cubicBezTo>
                    <a:pt x="172" y="39"/>
                    <a:pt x="133" y="0"/>
                    <a:pt x="8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4" name="Freeform 16"/>
            <p:cNvSpPr>
              <a:spLocks/>
            </p:cNvSpPr>
            <p:nvPr userDrawn="1"/>
          </p:nvSpPr>
          <p:spPr bwMode="auto">
            <a:xfrm>
              <a:off x="8718550" y="4105275"/>
              <a:ext cx="546100" cy="2444750"/>
            </a:xfrm>
            <a:custGeom>
              <a:avLst/>
              <a:gdLst>
                <a:gd name="T0" fmla="*/ 86 w 172"/>
                <a:gd name="T1" fmla="*/ 768 h 768"/>
                <a:gd name="T2" fmla="*/ 86 w 172"/>
                <a:gd name="T3" fmla="*/ 768 h 768"/>
                <a:gd name="T4" fmla="*/ 0 w 172"/>
                <a:gd name="T5" fmla="*/ 682 h 768"/>
                <a:gd name="T6" fmla="*/ 0 w 172"/>
                <a:gd name="T7" fmla="*/ 85 h 768"/>
                <a:gd name="T8" fmla="*/ 86 w 172"/>
                <a:gd name="T9" fmla="*/ 0 h 768"/>
                <a:gd name="T10" fmla="*/ 172 w 172"/>
                <a:gd name="T11" fmla="*/ 85 h 768"/>
                <a:gd name="T12" fmla="*/ 172 w 172"/>
                <a:gd name="T13" fmla="*/ 682 h 768"/>
                <a:gd name="T14" fmla="*/ 86 w 172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2" h="768">
                  <a:moveTo>
                    <a:pt x="86" y="768"/>
                  </a:moveTo>
                  <a:cubicBezTo>
                    <a:pt x="86" y="768"/>
                    <a:pt x="86" y="768"/>
                    <a:pt x="86" y="768"/>
                  </a:cubicBezTo>
                  <a:cubicBezTo>
                    <a:pt x="39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9" y="0"/>
                    <a:pt x="86" y="0"/>
                  </a:cubicBezTo>
                  <a:cubicBezTo>
                    <a:pt x="133" y="0"/>
                    <a:pt x="172" y="38"/>
                    <a:pt x="172" y="85"/>
                  </a:cubicBezTo>
                  <a:cubicBezTo>
                    <a:pt x="172" y="682"/>
                    <a:pt x="172" y="682"/>
                    <a:pt x="172" y="682"/>
                  </a:cubicBezTo>
                  <a:cubicBezTo>
                    <a:pt x="172" y="730"/>
                    <a:pt x="133" y="768"/>
                    <a:pt x="86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5" name="Freeform 17"/>
            <p:cNvSpPr>
              <a:spLocks noEditPoints="1"/>
            </p:cNvSpPr>
            <p:nvPr userDrawn="1"/>
          </p:nvSpPr>
          <p:spPr bwMode="auto">
            <a:xfrm>
              <a:off x="4465638" y="3841750"/>
              <a:ext cx="438150" cy="1092200"/>
            </a:xfrm>
            <a:custGeom>
              <a:avLst/>
              <a:gdLst>
                <a:gd name="T0" fmla="*/ 69 w 138"/>
                <a:gd name="T1" fmla="*/ 14 h 343"/>
                <a:gd name="T2" fmla="*/ 124 w 138"/>
                <a:gd name="T3" fmla="*/ 69 h 343"/>
                <a:gd name="T4" fmla="*/ 124 w 138"/>
                <a:gd name="T5" fmla="*/ 275 h 343"/>
                <a:gd name="T6" fmla="*/ 69 w 138"/>
                <a:gd name="T7" fmla="*/ 330 h 343"/>
                <a:gd name="T8" fmla="*/ 14 w 138"/>
                <a:gd name="T9" fmla="*/ 275 h 343"/>
                <a:gd name="T10" fmla="*/ 14 w 138"/>
                <a:gd name="T11" fmla="*/ 69 h 343"/>
                <a:gd name="T12" fmla="*/ 69 w 138"/>
                <a:gd name="T13" fmla="*/ 14 h 343"/>
                <a:gd name="T14" fmla="*/ 69 w 138"/>
                <a:gd name="T15" fmla="*/ 0 h 343"/>
                <a:gd name="T16" fmla="*/ 0 w 138"/>
                <a:gd name="T17" fmla="*/ 69 h 343"/>
                <a:gd name="T18" fmla="*/ 0 w 138"/>
                <a:gd name="T19" fmla="*/ 275 h 343"/>
                <a:gd name="T20" fmla="*/ 69 w 138"/>
                <a:gd name="T21" fmla="*/ 343 h 343"/>
                <a:gd name="T22" fmla="*/ 138 w 138"/>
                <a:gd name="T23" fmla="*/ 275 h 343"/>
                <a:gd name="T24" fmla="*/ 138 w 138"/>
                <a:gd name="T25" fmla="*/ 69 h 343"/>
                <a:gd name="T26" fmla="*/ 69 w 138"/>
                <a:gd name="T27" fmla="*/ 0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8" h="343">
                  <a:moveTo>
                    <a:pt x="69" y="14"/>
                  </a:moveTo>
                  <a:cubicBezTo>
                    <a:pt x="99" y="14"/>
                    <a:pt x="124" y="39"/>
                    <a:pt x="124" y="69"/>
                  </a:cubicBezTo>
                  <a:cubicBezTo>
                    <a:pt x="124" y="275"/>
                    <a:pt x="124" y="275"/>
                    <a:pt x="124" y="275"/>
                  </a:cubicBezTo>
                  <a:cubicBezTo>
                    <a:pt x="124" y="305"/>
                    <a:pt x="99" y="330"/>
                    <a:pt x="69" y="330"/>
                  </a:cubicBezTo>
                  <a:cubicBezTo>
                    <a:pt x="39" y="330"/>
                    <a:pt x="14" y="305"/>
                    <a:pt x="14" y="275"/>
                  </a:cubicBezTo>
                  <a:cubicBezTo>
                    <a:pt x="14" y="69"/>
                    <a:pt x="14" y="69"/>
                    <a:pt x="14" y="69"/>
                  </a:cubicBezTo>
                  <a:cubicBezTo>
                    <a:pt x="14" y="39"/>
                    <a:pt x="39" y="14"/>
                    <a:pt x="69" y="14"/>
                  </a:cubicBezTo>
                  <a:moveTo>
                    <a:pt x="69" y="0"/>
                  </a:moveTo>
                  <a:cubicBezTo>
                    <a:pt x="31" y="0"/>
                    <a:pt x="0" y="31"/>
                    <a:pt x="0" y="69"/>
                  </a:cubicBezTo>
                  <a:cubicBezTo>
                    <a:pt x="0" y="275"/>
                    <a:pt x="0" y="275"/>
                    <a:pt x="0" y="275"/>
                  </a:cubicBezTo>
                  <a:cubicBezTo>
                    <a:pt x="0" y="313"/>
                    <a:pt x="31" y="343"/>
                    <a:pt x="69" y="343"/>
                  </a:cubicBezTo>
                  <a:cubicBezTo>
                    <a:pt x="107" y="343"/>
                    <a:pt x="138" y="313"/>
                    <a:pt x="138" y="275"/>
                  </a:cubicBezTo>
                  <a:cubicBezTo>
                    <a:pt x="138" y="69"/>
                    <a:pt x="138" y="69"/>
                    <a:pt x="138" y="69"/>
                  </a:cubicBezTo>
                  <a:cubicBezTo>
                    <a:pt x="138" y="31"/>
                    <a:pt x="107" y="0"/>
                    <a:pt x="6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6" name="Freeform 18"/>
            <p:cNvSpPr>
              <a:spLocks/>
            </p:cNvSpPr>
            <p:nvPr userDrawn="1"/>
          </p:nvSpPr>
          <p:spPr bwMode="auto">
            <a:xfrm>
              <a:off x="7259638" y="4475163"/>
              <a:ext cx="260350" cy="436563"/>
            </a:xfrm>
            <a:custGeom>
              <a:avLst/>
              <a:gdLst>
                <a:gd name="T0" fmla="*/ 41 w 82"/>
                <a:gd name="T1" fmla="*/ 137 h 137"/>
                <a:gd name="T2" fmla="*/ 41 w 82"/>
                <a:gd name="T3" fmla="*/ 137 h 137"/>
                <a:gd name="T4" fmla="*/ 0 w 82"/>
                <a:gd name="T5" fmla="*/ 96 h 137"/>
                <a:gd name="T6" fmla="*/ 0 w 82"/>
                <a:gd name="T7" fmla="*/ 41 h 137"/>
                <a:gd name="T8" fmla="*/ 41 w 82"/>
                <a:gd name="T9" fmla="*/ 0 h 137"/>
                <a:gd name="T10" fmla="*/ 82 w 82"/>
                <a:gd name="T11" fmla="*/ 41 h 137"/>
                <a:gd name="T12" fmla="*/ 82 w 82"/>
                <a:gd name="T13" fmla="*/ 96 h 137"/>
                <a:gd name="T14" fmla="*/ 41 w 82"/>
                <a:gd name="T15" fmla="*/ 13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37">
                  <a:moveTo>
                    <a:pt x="41" y="137"/>
                  </a:moveTo>
                  <a:cubicBezTo>
                    <a:pt x="41" y="137"/>
                    <a:pt x="41" y="137"/>
                    <a:pt x="41" y="137"/>
                  </a:cubicBezTo>
                  <a:cubicBezTo>
                    <a:pt x="18" y="137"/>
                    <a:pt x="0" y="119"/>
                    <a:pt x="0" y="96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19"/>
                    <a:pt x="18" y="0"/>
                    <a:pt x="41" y="0"/>
                  </a:cubicBezTo>
                  <a:cubicBezTo>
                    <a:pt x="64" y="0"/>
                    <a:pt x="82" y="19"/>
                    <a:pt x="82" y="41"/>
                  </a:cubicBezTo>
                  <a:cubicBezTo>
                    <a:pt x="82" y="96"/>
                    <a:pt x="82" y="96"/>
                    <a:pt x="82" y="96"/>
                  </a:cubicBezTo>
                  <a:cubicBezTo>
                    <a:pt x="82" y="119"/>
                    <a:pt x="64" y="137"/>
                    <a:pt x="41" y="13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7" name="Freeform 19"/>
            <p:cNvSpPr>
              <a:spLocks noEditPoints="1"/>
            </p:cNvSpPr>
            <p:nvPr userDrawn="1"/>
          </p:nvSpPr>
          <p:spPr bwMode="auto">
            <a:xfrm>
              <a:off x="4030663" y="4475163"/>
              <a:ext cx="260350" cy="436563"/>
            </a:xfrm>
            <a:custGeom>
              <a:avLst/>
              <a:gdLst>
                <a:gd name="T0" fmla="*/ 41 w 82"/>
                <a:gd name="T1" fmla="*/ 14 h 137"/>
                <a:gd name="T2" fmla="*/ 69 w 82"/>
                <a:gd name="T3" fmla="*/ 41 h 137"/>
                <a:gd name="T4" fmla="*/ 69 w 82"/>
                <a:gd name="T5" fmla="*/ 96 h 137"/>
                <a:gd name="T6" fmla="*/ 41 w 82"/>
                <a:gd name="T7" fmla="*/ 124 h 137"/>
                <a:gd name="T8" fmla="*/ 14 w 82"/>
                <a:gd name="T9" fmla="*/ 96 h 137"/>
                <a:gd name="T10" fmla="*/ 14 w 82"/>
                <a:gd name="T11" fmla="*/ 41 h 137"/>
                <a:gd name="T12" fmla="*/ 41 w 82"/>
                <a:gd name="T13" fmla="*/ 14 h 137"/>
                <a:gd name="T14" fmla="*/ 41 w 82"/>
                <a:gd name="T15" fmla="*/ 0 h 137"/>
                <a:gd name="T16" fmla="*/ 0 w 82"/>
                <a:gd name="T17" fmla="*/ 41 h 137"/>
                <a:gd name="T18" fmla="*/ 0 w 82"/>
                <a:gd name="T19" fmla="*/ 96 h 137"/>
                <a:gd name="T20" fmla="*/ 41 w 82"/>
                <a:gd name="T21" fmla="*/ 137 h 137"/>
                <a:gd name="T22" fmla="*/ 82 w 82"/>
                <a:gd name="T23" fmla="*/ 96 h 137"/>
                <a:gd name="T24" fmla="*/ 82 w 82"/>
                <a:gd name="T25" fmla="*/ 41 h 137"/>
                <a:gd name="T26" fmla="*/ 41 w 82"/>
                <a:gd name="T27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2" h="137">
                  <a:moveTo>
                    <a:pt x="41" y="14"/>
                  </a:moveTo>
                  <a:cubicBezTo>
                    <a:pt x="56" y="14"/>
                    <a:pt x="69" y="26"/>
                    <a:pt x="69" y="41"/>
                  </a:cubicBezTo>
                  <a:cubicBezTo>
                    <a:pt x="69" y="96"/>
                    <a:pt x="69" y="96"/>
                    <a:pt x="69" y="96"/>
                  </a:cubicBezTo>
                  <a:cubicBezTo>
                    <a:pt x="69" y="112"/>
                    <a:pt x="56" y="124"/>
                    <a:pt x="41" y="124"/>
                  </a:cubicBezTo>
                  <a:cubicBezTo>
                    <a:pt x="26" y="124"/>
                    <a:pt x="14" y="112"/>
                    <a:pt x="14" y="96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4" y="26"/>
                    <a:pt x="26" y="14"/>
                    <a:pt x="41" y="14"/>
                  </a:cubicBezTo>
                  <a:moveTo>
                    <a:pt x="41" y="0"/>
                  </a:moveTo>
                  <a:cubicBezTo>
                    <a:pt x="19" y="0"/>
                    <a:pt x="0" y="19"/>
                    <a:pt x="0" y="41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19"/>
                    <a:pt x="19" y="137"/>
                    <a:pt x="41" y="137"/>
                  </a:cubicBezTo>
                  <a:cubicBezTo>
                    <a:pt x="64" y="137"/>
                    <a:pt x="82" y="119"/>
                    <a:pt x="82" y="96"/>
                  </a:cubicBezTo>
                  <a:cubicBezTo>
                    <a:pt x="82" y="41"/>
                    <a:pt x="82" y="41"/>
                    <a:pt x="82" y="41"/>
                  </a:cubicBezTo>
                  <a:cubicBezTo>
                    <a:pt x="82" y="19"/>
                    <a:pt x="64" y="0"/>
                    <a:pt x="4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8" name="Freeform 20"/>
            <p:cNvSpPr>
              <a:spLocks/>
            </p:cNvSpPr>
            <p:nvPr userDrawn="1"/>
          </p:nvSpPr>
          <p:spPr bwMode="auto">
            <a:xfrm>
              <a:off x="6648450" y="4452938"/>
              <a:ext cx="436563" cy="1092200"/>
            </a:xfrm>
            <a:custGeom>
              <a:avLst/>
              <a:gdLst>
                <a:gd name="T0" fmla="*/ 68 w 137"/>
                <a:gd name="T1" fmla="*/ 343 h 343"/>
                <a:gd name="T2" fmla="*/ 68 w 137"/>
                <a:gd name="T3" fmla="*/ 343 h 343"/>
                <a:gd name="T4" fmla="*/ 0 w 137"/>
                <a:gd name="T5" fmla="*/ 275 h 343"/>
                <a:gd name="T6" fmla="*/ 0 w 137"/>
                <a:gd name="T7" fmla="*/ 69 h 343"/>
                <a:gd name="T8" fmla="*/ 68 w 137"/>
                <a:gd name="T9" fmla="*/ 0 h 343"/>
                <a:gd name="T10" fmla="*/ 137 w 137"/>
                <a:gd name="T11" fmla="*/ 69 h 343"/>
                <a:gd name="T12" fmla="*/ 137 w 137"/>
                <a:gd name="T13" fmla="*/ 275 h 343"/>
                <a:gd name="T14" fmla="*/ 68 w 137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7" h="343">
                  <a:moveTo>
                    <a:pt x="68" y="343"/>
                  </a:moveTo>
                  <a:cubicBezTo>
                    <a:pt x="68" y="343"/>
                    <a:pt x="68" y="343"/>
                    <a:pt x="68" y="343"/>
                  </a:cubicBezTo>
                  <a:cubicBezTo>
                    <a:pt x="30" y="343"/>
                    <a:pt x="0" y="313"/>
                    <a:pt x="0" y="275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0" y="0"/>
                    <a:pt x="68" y="0"/>
                  </a:cubicBezTo>
                  <a:cubicBezTo>
                    <a:pt x="106" y="0"/>
                    <a:pt x="137" y="31"/>
                    <a:pt x="137" y="69"/>
                  </a:cubicBezTo>
                  <a:cubicBezTo>
                    <a:pt x="137" y="275"/>
                    <a:pt x="137" y="275"/>
                    <a:pt x="137" y="275"/>
                  </a:cubicBezTo>
                  <a:cubicBezTo>
                    <a:pt x="137" y="313"/>
                    <a:pt x="106" y="343"/>
                    <a:pt x="68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9" name="Freeform 21"/>
            <p:cNvSpPr>
              <a:spLocks/>
            </p:cNvSpPr>
            <p:nvPr userDrawn="1"/>
          </p:nvSpPr>
          <p:spPr bwMode="auto">
            <a:xfrm>
              <a:off x="5119688" y="2990850"/>
              <a:ext cx="547688" cy="2444750"/>
            </a:xfrm>
            <a:custGeom>
              <a:avLst/>
              <a:gdLst>
                <a:gd name="T0" fmla="*/ 86 w 172"/>
                <a:gd name="T1" fmla="*/ 768 h 768"/>
                <a:gd name="T2" fmla="*/ 86 w 172"/>
                <a:gd name="T3" fmla="*/ 768 h 768"/>
                <a:gd name="T4" fmla="*/ 0 w 172"/>
                <a:gd name="T5" fmla="*/ 682 h 768"/>
                <a:gd name="T6" fmla="*/ 0 w 172"/>
                <a:gd name="T7" fmla="*/ 85 h 768"/>
                <a:gd name="T8" fmla="*/ 86 w 172"/>
                <a:gd name="T9" fmla="*/ 0 h 768"/>
                <a:gd name="T10" fmla="*/ 172 w 172"/>
                <a:gd name="T11" fmla="*/ 85 h 768"/>
                <a:gd name="T12" fmla="*/ 172 w 172"/>
                <a:gd name="T13" fmla="*/ 682 h 768"/>
                <a:gd name="T14" fmla="*/ 86 w 172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2" h="768">
                  <a:moveTo>
                    <a:pt x="86" y="768"/>
                  </a:moveTo>
                  <a:cubicBezTo>
                    <a:pt x="86" y="768"/>
                    <a:pt x="86" y="768"/>
                    <a:pt x="86" y="768"/>
                  </a:cubicBezTo>
                  <a:cubicBezTo>
                    <a:pt x="39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9" y="0"/>
                    <a:pt x="86" y="0"/>
                  </a:cubicBezTo>
                  <a:cubicBezTo>
                    <a:pt x="133" y="0"/>
                    <a:pt x="172" y="38"/>
                    <a:pt x="172" y="85"/>
                  </a:cubicBezTo>
                  <a:cubicBezTo>
                    <a:pt x="172" y="682"/>
                    <a:pt x="172" y="682"/>
                    <a:pt x="172" y="682"/>
                  </a:cubicBezTo>
                  <a:cubicBezTo>
                    <a:pt x="172" y="730"/>
                    <a:pt x="133" y="768"/>
                    <a:pt x="86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70" name="Freeform 22"/>
            <p:cNvSpPr>
              <a:spLocks/>
            </p:cNvSpPr>
            <p:nvPr userDrawn="1"/>
          </p:nvSpPr>
          <p:spPr bwMode="auto">
            <a:xfrm>
              <a:off x="5886450" y="3952875"/>
              <a:ext cx="542925" cy="2444750"/>
            </a:xfrm>
            <a:custGeom>
              <a:avLst/>
              <a:gdLst>
                <a:gd name="T0" fmla="*/ 85 w 171"/>
                <a:gd name="T1" fmla="*/ 768 h 768"/>
                <a:gd name="T2" fmla="*/ 85 w 171"/>
                <a:gd name="T3" fmla="*/ 768 h 768"/>
                <a:gd name="T4" fmla="*/ 0 w 171"/>
                <a:gd name="T5" fmla="*/ 682 h 768"/>
                <a:gd name="T6" fmla="*/ 0 w 171"/>
                <a:gd name="T7" fmla="*/ 85 h 768"/>
                <a:gd name="T8" fmla="*/ 85 w 171"/>
                <a:gd name="T9" fmla="*/ 0 h 768"/>
                <a:gd name="T10" fmla="*/ 171 w 171"/>
                <a:gd name="T11" fmla="*/ 85 h 768"/>
                <a:gd name="T12" fmla="*/ 171 w 171"/>
                <a:gd name="T13" fmla="*/ 682 h 768"/>
                <a:gd name="T14" fmla="*/ 85 w 171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768">
                  <a:moveTo>
                    <a:pt x="85" y="768"/>
                  </a:moveTo>
                  <a:cubicBezTo>
                    <a:pt x="85" y="768"/>
                    <a:pt x="85" y="768"/>
                    <a:pt x="85" y="768"/>
                  </a:cubicBezTo>
                  <a:cubicBezTo>
                    <a:pt x="38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3" y="0"/>
                    <a:pt x="171" y="38"/>
                    <a:pt x="171" y="85"/>
                  </a:cubicBezTo>
                  <a:cubicBezTo>
                    <a:pt x="171" y="682"/>
                    <a:pt x="171" y="682"/>
                    <a:pt x="171" y="682"/>
                  </a:cubicBezTo>
                  <a:cubicBezTo>
                    <a:pt x="171" y="730"/>
                    <a:pt x="133" y="768"/>
                    <a:pt x="85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71" name="Freeform 23"/>
            <p:cNvSpPr>
              <a:spLocks/>
            </p:cNvSpPr>
            <p:nvPr userDrawn="1"/>
          </p:nvSpPr>
          <p:spPr bwMode="auto">
            <a:xfrm>
              <a:off x="3790950" y="4716463"/>
              <a:ext cx="436563" cy="1092200"/>
            </a:xfrm>
            <a:custGeom>
              <a:avLst/>
              <a:gdLst>
                <a:gd name="T0" fmla="*/ 68 w 137"/>
                <a:gd name="T1" fmla="*/ 343 h 343"/>
                <a:gd name="T2" fmla="*/ 68 w 137"/>
                <a:gd name="T3" fmla="*/ 343 h 343"/>
                <a:gd name="T4" fmla="*/ 0 w 137"/>
                <a:gd name="T5" fmla="*/ 274 h 343"/>
                <a:gd name="T6" fmla="*/ 0 w 137"/>
                <a:gd name="T7" fmla="*/ 68 h 343"/>
                <a:gd name="T8" fmla="*/ 68 w 137"/>
                <a:gd name="T9" fmla="*/ 0 h 343"/>
                <a:gd name="T10" fmla="*/ 137 w 137"/>
                <a:gd name="T11" fmla="*/ 68 h 343"/>
                <a:gd name="T12" fmla="*/ 137 w 137"/>
                <a:gd name="T13" fmla="*/ 274 h 343"/>
                <a:gd name="T14" fmla="*/ 68 w 137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7" h="343">
                  <a:moveTo>
                    <a:pt x="68" y="343"/>
                  </a:moveTo>
                  <a:cubicBezTo>
                    <a:pt x="68" y="343"/>
                    <a:pt x="68" y="343"/>
                    <a:pt x="68" y="343"/>
                  </a:cubicBezTo>
                  <a:cubicBezTo>
                    <a:pt x="30" y="343"/>
                    <a:pt x="0" y="312"/>
                    <a:pt x="0" y="274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30"/>
                    <a:pt x="30" y="0"/>
                    <a:pt x="68" y="0"/>
                  </a:cubicBezTo>
                  <a:cubicBezTo>
                    <a:pt x="106" y="0"/>
                    <a:pt x="137" y="30"/>
                    <a:pt x="137" y="68"/>
                  </a:cubicBezTo>
                  <a:cubicBezTo>
                    <a:pt x="137" y="274"/>
                    <a:pt x="137" y="274"/>
                    <a:pt x="137" y="274"/>
                  </a:cubicBezTo>
                  <a:cubicBezTo>
                    <a:pt x="137" y="312"/>
                    <a:pt x="106" y="343"/>
                    <a:pt x="68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72" name="Freeform 24"/>
            <p:cNvSpPr>
              <a:spLocks/>
            </p:cNvSpPr>
            <p:nvPr userDrawn="1"/>
          </p:nvSpPr>
          <p:spPr bwMode="auto">
            <a:xfrm>
              <a:off x="3028950" y="3841750"/>
              <a:ext cx="542925" cy="2447925"/>
            </a:xfrm>
            <a:custGeom>
              <a:avLst/>
              <a:gdLst>
                <a:gd name="T0" fmla="*/ 85 w 171"/>
                <a:gd name="T1" fmla="*/ 769 h 769"/>
                <a:gd name="T2" fmla="*/ 85 w 171"/>
                <a:gd name="T3" fmla="*/ 769 h 769"/>
                <a:gd name="T4" fmla="*/ 0 w 171"/>
                <a:gd name="T5" fmla="*/ 683 h 769"/>
                <a:gd name="T6" fmla="*/ 0 w 171"/>
                <a:gd name="T7" fmla="*/ 86 h 769"/>
                <a:gd name="T8" fmla="*/ 85 w 171"/>
                <a:gd name="T9" fmla="*/ 0 h 769"/>
                <a:gd name="T10" fmla="*/ 171 w 171"/>
                <a:gd name="T11" fmla="*/ 86 h 769"/>
                <a:gd name="T12" fmla="*/ 171 w 171"/>
                <a:gd name="T13" fmla="*/ 683 h 769"/>
                <a:gd name="T14" fmla="*/ 85 w 171"/>
                <a:gd name="T15" fmla="*/ 769 h 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769">
                  <a:moveTo>
                    <a:pt x="85" y="769"/>
                  </a:moveTo>
                  <a:cubicBezTo>
                    <a:pt x="85" y="769"/>
                    <a:pt x="85" y="769"/>
                    <a:pt x="85" y="769"/>
                  </a:cubicBezTo>
                  <a:cubicBezTo>
                    <a:pt x="38" y="769"/>
                    <a:pt x="0" y="730"/>
                    <a:pt x="0" y="683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39"/>
                    <a:pt x="38" y="0"/>
                    <a:pt x="85" y="0"/>
                  </a:cubicBezTo>
                  <a:cubicBezTo>
                    <a:pt x="133" y="0"/>
                    <a:pt x="171" y="39"/>
                    <a:pt x="171" y="86"/>
                  </a:cubicBezTo>
                  <a:cubicBezTo>
                    <a:pt x="171" y="683"/>
                    <a:pt x="171" y="683"/>
                    <a:pt x="171" y="683"/>
                  </a:cubicBezTo>
                  <a:cubicBezTo>
                    <a:pt x="171" y="730"/>
                    <a:pt x="133" y="769"/>
                    <a:pt x="85" y="76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73" name="Freeform 25"/>
            <p:cNvSpPr>
              <a:spLocks/>
            </p:cNvSpPr>
            <p:nvPr userDrawn="1"/>
          </p:nvSpPr>
          <p:spPr bwMode="auto">
            <a:xfrm>
              <a:off x="0" y="3148013"/>
              <a:ext cx="228600" cy="2438400"/>
            </a:xfrm>
            <a:custGeom>
              <a:avLst/>
              <a:gdLst>
                <a:gd name="T0" fmla="*/ 0 w 72"/>
                <a:gd name="T1" fmla="*/ 0 h 766"/>
                <a:gd name="T2" fmla="*/ 0 w 72"/>
                <a:gd name="T3" fmla="*/ 766 h 766"/>
                <a:gd name="T4" fmla="*/ 72 w 72"/>
                <a:gd name="T5" fmla="*/ 681 h 766"/>
                <a:gd name="T6" fmla="*/ 72 w 72"/>
                <a:gd name="T7" fmla="*/ 84 h 766"/>
                <a:gd name="T8" fmla="*/ 0 w 72"/>
                <a:gd name="T9" fmla="*/ 0 h 7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66">
                  <a:moveTo>
                    <a:pt x="0" y="0"/>
                  </a:moveTo>
                  <a:cubicBezTo>
                    <a:pt x="0" y="766"/>
                    <a:pt x="0" y="766"/>
                    <a:pt x="0" y="766"/>
                  </a:cubicBezTo>
                  <a:cubicBezTo>
                    <a:pt x="41" y="759"/>
                    <a:pt x="72" y="724"/>
                    <a:pt x="72" y="681"/>
                  </a:cubicBezTo>
                  <a:cubicBezTo>
                    <a:pt x="72" y="84"/>
                    <a:pt x="72" y="84"/>
                    <a:pt x="72" y="84"/>
                  </a:cubicBezTo>
                  <a:cubicBezTo>
                    <a:pt x="72" y="42"/>
                    <a:pt x="41" y="6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74" name="Freeform 26"/>
            <p:cNvSpPr>
              <a:spLocks/>
            </p:cNvSpPr>
            <p:nvPr userDrawn="1"/>
          </p:nvSpPr>
          <p:spPr bwMode="auto">
            <a:xfrm>
              <a:off x="11950700" y="4105275"/>
              <a:ext cx="254000" cy="2444750"/>
            </a:xfrm>
            <a:custGeom>
              <a:avLst/>
              <a:gdLst>
                <a:gd name="T0" fmla="*/ 80 w 80"/>
                <a:gd name="T1" fmla="*/ 0 h 768"/>
                <a:gd name="T2" fmla="*/ 0 w 80"/>
                <a:gd name="T3" fmla="*/ 85 h 768"/>
                <a:gd name="T4" fmla="*/ 0 w 80"/>
                <a:gd name="T5" fmla="*/ 682 h 768"/>
                <a:gd name="T6" fmla="*/ 80 w 80"/>
                <a:gd name="T7" fmla="*/ 768 h 768"/>
                <a:gd name="T8" fmla="*/ 80 w 80"/>
                <a:gd name="T9" fmla="*/ 0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768">
                  <a:moveTo>
                    <a:pt x="80" y="0"/>
                  </a:moveTo>
                  <a:cubicBezTo>
                    <a:pt x="36" y="2"/>
                    <a:pt x="0" y="39"/>
                    <a:pt x="0" y="85"/>
                  </a:cubicBezTo>
                  <a:cubicBezTo>
                    <a:pt x="0" y="682"/>
                    <a:pt x="0" y="682"/>
                    <a:pt x="0" y="682"/>
                  </a:cubicBezTo>
                  <a:cubicBezTo>
                    <a:pt x="0" y="728"/>
                    <a:pt x="36" y="766"/>
                    <a:pt x="80" y="768"/>
                  </a:cubicBezTo>
                  <a:lnTo>
                    <a:pt x="8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</p:grpSp>
    </p:spTree>
    <p:extLst>
      <p:ext uri="{BB962C8B-B14F-4D97-AF65-F5344CB8AC3E}">
        <p14:creationId xmlns:p14="http://schemas.microsoft.com/office/powerpoint/2010/main" val="2575594297"/>
      </p:ext>
    </p:extLst>
  </p:cSld>
  <p:clrMapOvr>
    <a:masterClrMapping/>
  </p:clrMapOvr>
  <p:hf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E43D5-A05A-41D5-AF2A-4CC6E5568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E43D5-A05A-41D5-AF2A-4CC6E5568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41538" y="1089026"/>
            <a:ext cx="6864086" cy="2268744"/>
          </a:xfrm>
        </p:spPr>
        <p:txBody>
          <a:bodyPr vert="horz">
            <a:noAutofit/>
          </a:bodyPr>
          <a:lstStyle>
            <a:lvl1pPr algn="ctr">
              <a:defRPr sz="3000">
                <a:solidFill>
                  <a:schemeClr val="tx2"/>
                </a:solidFill>
              </a:defRPr>
            </a:lvl1pPr>
          </a:lstStyle>
          <a:p>
            <a:r>
              <a:rPr lang="en-GB"/>
              <a:t>Click and type quot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2641203" y="3573522"/>
            <a:ext cx="6864086" cy="540000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b="1">
                <a:solidFill>
                  <a:srgbClr val="8B8A8D"/>
                </a:solidFill>
              </a:defRPr>
            </a:lvl1pPr>
            <a:lvl2pPr marL="257165" indent="0">
              <a:buFontTx/>
              <a:buNone/>
              <a:defRPr b="1">
                <a:solidFill>
                  <a:schemeClr val="accent4"/>
                </a:solidFill>
              </a:defRPr>
            </a:lvl2pPr>
            <a:lvl3pPr marL="514331" indent="0">
              <a:buFontTx/>
              <a:buNone/>
              <a:defRPr b="1">
                <a:solidFill>
                  <a:schemeClr val="accent4"/>
                </a:solidFill>
              </a:defRPr>
            </a:lvl3pPr>
            <a:lvl4pPr marL="771497" indent="0">
              <a:buFontTx/>
              <a:buNone/>
              <a:defRPr b="1">
                <a:solidFill>
                  <a:schemeClr val="accent4"/>
                </a:solidFill>
              </a:defRPr>
            </a:lvl4pPr>
            <a:lvl5pPr marL="1028662" indent="0">
              <a:buFontTx/>
              <a:buNone/>
              <a:defRPr b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576570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08059BD-90CE-4BF2-904B-E663F3470C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08059BD-90CE-4BF2-904B-E663F3470C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41538" y="1090800"/>
            <a:ext cx="6864086" cy="2268000"/>
          </a:xfrm>
        </p:spPr>
        <p:txBody>
          <a:bodyPr vert="horz">
            <a:noAutofit/>
          </a:bodyPr>
          <a:lstStyle>
            <a:lvl1pPr algn="ctr">
              <a:defRPr sz="3000">
                <a:solidFill>
                  <a:srgbClr val="FBD9CA"/>
                </a:solidFill>
              </a:defRPr>
            </a:lvl1pPr>
          </a:lstStyle>
          <a:p>
            <a:r>
              <a:rPr lang="en-GB"/>
              <a:t>Click and type quot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2641203" y="3573522"/>
            <a:ext cx="6864086" cy="540000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b="1">
                <a:solidFill>
                  <a:schemeClr val="bg1"/>
                </a:solidFill>
              </a:defRPr>
            </a:lvl1pPr>
            <a:lvl2pPr marL="257165" indent="0">
              <a:buFontTx/>
              <a:buNone/>
              <a:defRPr b="1">
                <a:solidFill>
                  <a:schemeClr val="accent4"/>
                </a:solidFill>
              </a:defRPr>
            </a:lvl2pPr>
            <a:lvl3pPr marL="514331" indent="0">
              <a:buFontTx/>
              <a:buNone/>
              <a:defRPr b="1">
                <a:solidFill>
                  <a:schemeClr val="accent4"/>
                </a:solidFill>
              </a:defRPr>
            </a:lvl3pPr>
            <a:lvl4pPr marL="771497" indent="0">
              <a:buFontTx/>
              <a:buNone/>
              <a:defRPr b="1">
                <a:solidFill>
                  <a:schemeClr val="accent4"/>
                </a:solidFill>
              </a:defRPr>
            </a:lvl4pPr>
            <a:lvl5pPr marL="1028662" indent="0">
              <a:buFontTx/>
              <a:buNone/>
              <a:defRPr b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GB"/>
              <a:t>Name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48000" y="6318000"/>
            <a:ext cx="108936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Logotype, static"/>
          <p:cNvGrpSpPr/>
          <p:nvPr userDrawn="1"/>
        </p:nvGrpSpPr>
        <p:grpSpPr>
          <a:xfrm>
            <a:off x="10689466" y="6389301"/>
            <a:ext cx="863687" cy="180102"/>
            <a:chOff x="9501453" y="6148765"/>
            <a:chExt cx="2047875" cy="427037"/>
          </a:xfrm>
          <a:solidFill>
            <a:schemeClr val="bg1"/>
          </a:solidFill>
        </p:grpSpPr>
        <p:sp>
          <p:nvSpPr>
            <p:cNvPr id="24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5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6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7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8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9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016062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Pulse Patter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6AE00A3-BEB7-431D-B6EC-06131D9476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6AE00A3-BEB7-431D-B6EC-06131D9476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41538" y="166246"/>
            <a:ext cx="6864086" cy="2327243"/>
          </a:xfrm>
        </p:spPr>
        <p:txBody>
          <a:bodyPr vert="horz">
            <a:noAutofit/>
          </a:bodyPr>
          <a:lstStyle>
            <a:lvl1pPr algn="ctr">
              <a:defRPr sz="3000">
                <a:solidFill>
                  <a:srgbClr val="FBD9CA"/>
                </a:solidFill>
              </a:defRPr>
            </a:lvl1pPr>
          </a:lstStyle>
          <a:p>
            <a:r>
              <a:rPr lang="en-GB"/>
              <a:t>Click and type quot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2641203" y="2709242"/>
            <a:ext cx="6864086" cy="540000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b="1">
                <a:solidFill>
                  <a:schemeClr val="bg1"/>
                </a:solidFill>
              </a:defRPr>
            </a:lvl1pPr>
            <a:lvl2pPr marL="257165" indent="0">
              <a:buFontTx/>
              <a:buNone/>
              <a:defRPr b="1">
                <a:solidFill>
                  <a:schemeClr val="accent4"/>
                </a:solidFill>
              </a:defRPr>
            </a:lvl2pPr>
            <a:lvl3pPr marL="514331" indent="0">
              <a:buFontTx/>
              <a:buNone/>
              <a:defRPr b="1">
                <a:solidFill>
                  <a:schemeClr val="accent4"/>
                </a:solidFill>
              </a:defRPr>
            </a:lvl3pPr>
            <a:lvl4pPr marL="771497" indent="0">
              <a:buFontTx/>
              <a:buNone/>
              <a:defRPr b="1">
                <a:solidFill>
                  <a:schemeClr val="accent4"/>
                </a:solidFill>
              </a:defRPr>
            </a:lvl4pPr>
            <a:lvl5pPr marL="1028662" indent="0">
              <a:buFontTx/>
              <a:buNone/>
              <a:defRPr b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GB"/>
              <a:t>Name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48000" y="6318000"/>
            <a:ext cx="108936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4" name="Pulse"/>
          <p:cNvGrpSpPr/>
          <p:nvPr userDrawn="1"/>
        </p:nvGrpSpPr>
        <p:grpSpPr>
          <a:xfrm>
            <a:off x="1" y="3348039"/>
            <a:ext cx="12204700" cy="2643187"/>
            <a:chOff x="0" y="3348038"/>
            <a:chExt cx="12204700" cy="2643187"/>
          </a:xfrm>
          <a:solidFill>
            <a:srgbClr val="0000FF"/>
          </a:solidFill>
        </p:grpSpPr>
        <p:sp>
          <p:nvSpPr>
            <p:cNvPr id="45" name="Freeform 5"/>
            <p:cNvSpPr>
              <a:spLocks/>
            </p:cNvSpPr>
            <p:nvPr userDrawn="1"/>
          </p:nvSpPr>
          <p:spPr bwMode="auto">
            <a:xfrm>
              <a:off x="1906588" y="4092575"/>
              <a:ext cx="323850" cy="812800"/>
            </a:xfrm>
            <a:custGeom>
              <a:avLst/>
              <a:gdLst>
                <a:gd name="T0" fmla="*/ 51 w 102"/>
                <a:gd name="T1" fmla="*/ 255 h 255"/>
                <a:gd name="T2" fmla="*/ 51 w 102"/>
                <a:gd name="T3" fmla="*/ 255 h 255"/>
                <a:gd name="T4" fmla="*/ 0 w 102"/>
                <a:gd name="T5" fmla="*/ 204 h 255"/>
                <a:gd name="T6" fmla="*/ 0 w 102"/>
                <a:gd name="T7" fmla="*/ 51 h 255"/>
                <a:gd name="T8" fmla="*/ 51 w 102"/>
                <a:gd name="T9" fmla="*/ 0 h 255"/>
                <a:gd name="T10" fmla="*/ 102 w 102"/>
                <a:gd name="T11" fmla="*/ 51 h 255"/>
                <a:gd name="T12" fmla="*/ 102 w 102"/>
                <a:gd name="T13" fmla="*/ 204 h 255"/>
                <a:gd name="T14" fmla="*/ 51 w 102"/>
                <a:gd name="T15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2" h="255">
                  <a:moveTo>
                    <a:pt x="51" y="255"/>
                  </a:moveTo>
                  <a:cubicBezTo>
                    <a:pt x="51" y="255"/>
                    <a:pt x="51" y="255"/>
                    <a:pt x="51" y="255"/>
                  </a:cubicBezTo>
                  <a:cubicBezTo>
                    <a:pt x="23" y="255"/>
                    <a:pt x="0" y="232"/>
                    <a:pt x="0" y="204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23"/>
                    <a:pt x="23" y="0"/>
                    <a:pt x="51" y="0"/>
                  </a:cubicBezTo>
                  <a:cubicBezTo>
                    <a:pt x="79" y="0"/>
                    <a:pt x="102" y="23"/>
                    <a:pt x="102" y="51"/>
                  </a:cubicBezTo>
                  <a:cubicBezTo>
                    <a:pt x="102" y="204"/>
                    <a:pt x="102" y="204"/>
                    <a:pt x="102" y="204"/>
                  </a:cubicBezTo>
                  <a:cubicBezTo>
                    <a:pt x="102" y="232"/>
                    <a:pt x="79" y="255"/>
                    <a:pt x="51" y="2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46" name="Freeform 6"/>
            <p:cNvSpPr>
              <a:spLocks/>
            </p:cNvSpPr>
            <p:nvPr userDrawn="1"/>
          </p:nvSpPr>
          <p:spPr bwMode="auto">
            <a:xfrm>
              <a:off x="3979863" y="4564063"/>
              <a:ext cx="193675" cy="325438"/>
            </a:xfrm>
            <a:custGeom>
              <a:avLst/>
              <a:gdLst>
                <a:gd name="T0" fmla="*/ 30 w 61"/>
                <a:gd name="T1" fmla="*/ 102 h 102"/>
                <a:gd name="T2" fmla="*/ 30 w 61"/>
                <a:gd name="T3" fmla="*/ 102 h 102"/>
                <a:gd name="T4" fmla="*/ 0 w 61"/>
                <a:gd name="T5" fmla="*/ 71 h 102"/>
                <a:gd name="T6" fmla="*/ 0 w 61"/>
                <a:gd name="T7" fmla="*/ 30 h 102"/>
                <a:gd name="T8" fmla="*/ 30 w 61"/>
                <a:gd name="T9" fmla="*/ 0 h 102"/>
                <a:gd name="T10" fmla="*/ 61 w 61"/>
                <a:gd name="T11" fmla="*/ 30 h 102"/>
                <a:gd name="T12" fmla="*/ 61 w 61"/>
                <a:gd name="T13" fmla="*/ 71 h 102"/>
                <a:gd name="T14" fmla="*/ 30 w 61"/>
                <a:gd name="T15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" h="102">
                  <a:moveTo>
                    <a:pt x="30" y="102"/>
                  </a:moveTo>
                  <a:cubicBezTo>
                    <a:pt x="30" y="102"/>
                    <a:pt x="30" y="102"/>
                    <a:pt x="30" y="102"/>
                  </a:cubicBezTo>
                  <a:cubicBezTo>
                    <a:pt x="13" y="102"/>
                    <a:pt x="0" y="88"/>
                    <a:pt x="0" y="71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4"/>
                    <a:pt x="13" y="0"/>
                    <a:pt x="30" y="0"/>
                  </a:cubicBezTo>
                  <a:cubicBezTo>
                    <a:pt x="47" y="0"/>
                    <a:pt x="61" y="14"/>
                    <a:pt x="61" y="30"/>
                  </a:cubicBezTo>
                  <a:cubicBezTo>
                    <a:pt x="61" y="71"/>
                    <a:pt x="61" y="71"/>
                    <a:pt x="61" y="71"/>
                  </a:cubicBezTo>
                  <a:cubicBezTo>
                    <a:pt x="61" y="88"/>
                    <a:pt x="47" y="102"/>
                    <a:pt x="30" y="10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47" name="Freeform 7"/>
            <p:cNvSpPr>
              <a:spLocks/>
            </p:cNvSpPr>
            <p:nvPr userDrawn="1"/>
          </p:nvSpPr>
          <p:spPr bwMode="auto">
            <a:xfrm>
              <a:off x="1585913" y="4564063"/>
              <a:ext cx="193675" cy="325438"/>
            </a:xfrm>
            <a:custGeom>
              <a:avLst/>
              <a:gdLst>
                <a:gd name="T0" fmla="*/ 30 w 61"/>
                <a:gd name="T1" fmla="*/ 102 h 102"/>
                <a:gd name="T2" fmla="*/ 30 w 61"/>
                <a:gd name="T3" fmla="*/ 102 h 102"/>
                <a:gd name="T4" fmla="*/ 0 w 61"/>
                <a:gd name="T5" fmla="*/ 71 h 102"/>
                <a:gd name="T6" fmla="*/ 0 w 61"/>
                <a:gd name="T7" fmla="*/ 30 h 102"/>
                <a:gd name="T8" fmla="*/ 30 w 61"/>
                <a:gd name="T9" fmla="*/ 0 h 102"/>
                <a:gd name="T10" fmla="*/ 61 w 61"/>
                <a:gd name="T11" fmla="*/ 30 h 102"/>
                <a:gd name="T12" fmla="*/ 61 w 61"/>
                <a:gd name="T13" fmla="*/ 71 h 102"/>
                <a:gd name="T14" fmla="*/ 30 w 61"/>
                <a:gd name="T15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" h="102">
                  <a:moveTo>
                    <a:pt x="30" y="102"/>
                  </a:moveTo>
                  <a:cubicBezTo>
                    <a:pt x="30" y="102"/>
                    <a:pt x="30" y="102"/>
                    <a:pt x="30" y="102"/>
                  </a:cubicBezTo>
                  <a:cubicBezTo>
                    <a:pt x="13" y="102"/>
                    <a:pt x="0" y="88"/>
                    <a:pt x="0" y="71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4"/>
                    <a:pt x="13" y="0"/>
                    <a:pt x="30" y="0"/>
                  </a:cubicBezTo>
                  <a:cubicBezTo>
                    <a:pt x="47" y="0"/>
                    <a:pt x="61" y="14"/>
                    <a:pt x="61" y="30"/>
                  </a:cubicBezTo>
                  <a:cubicBezTo>
                    <a:pt x="61" y="71"/>
                    <a:pt x="61" y="71"/>
                    <a:pt x="61" y="71"/>
                  </a:cubicBezTo>
                  <a:cubicBezTo>
                    <a:pt x="61" y="88"/>
                    <a:pt x="47" y="102"/>
                    <a:pt x="30" y="10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48" name="Freeform 8"/>
            <p:cNvSpPr>
              <a:spLocks/>
            </p:cNvSpPr>
            <p:nvPr userDrawn="1"/>
          </p:nvSpPr>
          <p:spPr bwMode="auto">
            <a:xfrm>
              <a:off x="3524250" y="4548188"/>
              <a:ext cx="325438" cy="809625"/>
            </a:xfrm>
            <a:custGeom>
              <a:avLst/>
              <a:gdLst>
                <a:gd name="T0" fmla="*/ 51 w 102"/>
                <a:gd name="T1" fmla="*/ 254 h 254"/>
                <a:gd name="T2" fmla="*/ 51 w 102"/>
                <a:gd name="T3" fmla="*/ 254 h 254"/>
                <a:gd name="T4" fmla="*/ 0 w 102"/>
                <a:gd name="T5" fmla="*/ 203 h 254"/>
                <a:gd name="T6" fmla="*/ 0 w 102"/>
                <a:gd name="T7" fmla="*/ 51 h 254"/>
                <a:gd name="T8" fmla="*/ 51 w 102"/>
                <a:gd name="T9" fmla="*/ 0 h 254"/>
                <a:gd name="T10" fmla="*/ 102 w 102"/>
                <a:gd name="T11" fmla="*/ 51 h 254"/>
                <a:gd name="T12" fmla="*/ 102 w 102"/>
                <a:gd name="T13" fmla="*/ 203 h 254"/>
                <a:gd name="T14" fmla="*/ 51 w 102"/>
                <a:gd name="T15" fmla="*/ 254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2" h="254">
                  <a:moveTo>
                    <a:pt x="51" y="254"/>
                  </a:moveTo>
                  <a:cubicBezTo>
                    <a:pt x="51" y="254"/>
                    <a:pt x="51" y="254"/>
                    <a:pt x="51" y="254"/>
                  </a:cubicBezTo>
                  <a:cubicBezTo>
                    <a:pt x="23" y="254"/>
                    <a:pt x="0" y="232"/>
                    <a:pt x="0" y="203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23"/>
                    <a:pt x="23" y="0"/>
                    <a:pt x="51" y="0"/>
                  </a:cubicBezTo>
                  <a:cubicBezTo>
                    <a:pt x="79" y="0"/>
                    <a:pt x="102" y="23"/>
                    <a:pt x="102" y="51"/>
                  </a:cubicBezTo>
                  <a:cubicBezTo>
                    <a:pt x="102" y="203"/>
                    <a:pt x="102" y="203"/>
                    <a:pt x="102" y="203"/>
                  </a:cubicBezTo>
                  <a:cubicBezTo>
                    <a:pt x="102" y="232"/>
                    <a:pt x="79" y="254"/>
                    <a:pt x="51" y="2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49" name="Freeform 9"/>
            <p:cNvSpPr>
              <a:spLocks/>
            </p:cNvSpPr>
            <p:nvPr userDrawn="1"/>
          </p:nvSpPr>
          <p:spPr bwMode="auto">
            <a:xfrm>
              <a:off x="2393950" y="3462338"/>
              <a:ext cx="403225" cy="1814513"/>
            </a:xfrm>
            <a:custGeom>
              <a:avLst/>
              <a:gdLst>
                <a:gd name="T0" fmla="*/ 64 w 127"/>
                <a:gd name="T1" fmla="*/ 570 h 570"/>
                <a:gd name="T2" fmla="*/ 64 w 127"/>
                <a:gd name="T3" fmla="*/ 570 h 570"/>
                <a:gd name="T4" fmla="*/ 0 w 127"/>
                <a:gd name="T5" fmla="*/ 506 h 570"/>
                <a:gd name="T6" fmla="*/ 0 w 127"/>
                <a:gd name="T7" fmla="*/ 64 h 570"/>
                <a:gd name="T8" fmla="*/ 64 w 127"/>
                <a:gd name="T9" fmla="*/ 0 h 570"/>
                <a:gd name="T10" fmla="*/ 127 w 127"/>
                <a:gd name="T11" fmla="*/ 64 h 570"/>
                <a:gd name="T12" fmla="*/ 127 w 127"/>
                <a:gd name="T13" fmla="*/ 506 h 570"/>
                <a:gd name="T14" fmla="*/ 64 w 127"/>
                <a:gd name="T15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570">
                  <a:moveTo>
                    <a:pt x="64" y="570"/>
                  </a:moveTo>
                  <a:cubicBezTo>
                    <a:pt x="64" y="570"/>
                    <a:pt x="64" y="570"/>
                    <a:pt x="64" y="570"/>
                  </a:cubicBezTo>
                  <a:cubicBezTo>
                    <a:pt x="29" y="570"/>
                    <a:pt x="0" y="541"/>
                    <a:pt x="0" y="50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9"/>
                    <a:pt x="29" y="0"/>
                    <a:pt x="64" y="0"/>
                  </a:cubicBezTo>
                  <a:cubicBezTo>
                    <a:pt x="99" y="0"/>
                    <a:pt x="127" y="29"/>
                    <a:pt x="127" y="64"/>
                  </a:cubicBezTo>
                  <a:cubicBezTo>
                    <a:pt x="127" y="506"/>
                    <a:pt x="127" y="506"/>
                    <a:pt x="127" y="506"/>
                  </a:cubicBezTo>
                  <a:cubicBezTo>
                    <a:pt x="127" y="541"/>
                    <a:pt x="99" y="570"/>
                    <a:pt x="64" y="5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0" name="Freeform 10"/>
            <p:cNvSpPr>
              <a:spLocks/>
            </p:cNvSpPr>
            <p:nvPr userDrawn="1"/>
          </p:nvSpPr>
          <p:spPr bwMode="auto">
            <a:xfrm>
              <a:off x="311150" y="3462338"/>
              <a:ext cx="406400" cy="1814513"/>
            </a:xfrm>
            <a:custGeom>
              <a:avLst/>
              <a:gdLst>
                <a:gd name="T0" fmla="*/ 64 w 128"/>
                <a:gd name="T1" fmla="*/ 570 h 570"/>
                <a:gd name="T2" fmla="*/ 64 w 128"/>
                <a:gd name="T3" fmla="*/ 570 h 570"/>
                <a:gd name="T4" fmla="*/ 0 w 128"/>
                <a:gd name="T5" fmla="*/ 506 h 570"/>
                <a:gd name="T6" fmla="*/ 0 w 128"/>
                <a:gd name="T7" fmla="*/ 64 h 570"/>
                <a:gd name="T8" fmla="*/ 64 w 128"/>
                <a:gd name="T9" fmla="*/ 0 h 570"/>
                <a:gd name="T10" fmla="*/ 128 w 128"/>
                <a:gd name="T11" fmla="*/ 64 h 570"/>
                <a:gd name="T12" fmla="*/ 128 w 128"/>
                <a:gd name="T13" fmla="*/ 506 h 570"/>
                <a:gd name="T14" fmla="*/ 64 w 128"/>
                <a:gd name="T15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" h="570">
                  <a:moveTo>
                    <a:pt x="64" y="570"/>
                  </a:moveTo>
                  <a:cubicBezTo>
                    <a:pt x="64" y="570"/>
                    <a:pt x="64" y="570"/>
                    <a:pt x="64" y="570"/>
                  </a:cubicBezTo>
                  <a:cubicBezTo>
                    <a:pt x="29" y="570"/>
                    <a:pt x="0" y="541"/>
                    <a:pt x="0" y="50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9"/>
                    <a:pt x="29" y="0"/>
                    <a:pt x="64" y="0"/>
                  </a:cubicBezTo>
                  <a:cubicBezTo>
                    <a:pt x="99" y="0"/>
                    <a:pt x="128" y="29"/>
                    <a:pt x="128" y="64"/>
                  </a:cubicBezTo>
                  <a:cubicBezTo>
                    <a:pt x="128" y="506"/>
                    <a:pt x="128" y="506"/>
                    <a:pt x="128" y="506"/>
                  </a:cubicBezTo>
                  <a:cubicBezTo>
                    <a:pt x="128" y="541"/>
                    <a:pt x="99" y="570"/>
                    <a:pt x="64" y="5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1" name="Freeform 11"/>
            <p:cNvSpPr>
              <a:spLocks/>
            </p:cNvSpPr>
            <p:nvPr userDrawn="1"/>
          </p:nvSpPr>
          <p:spPr bwMode="auto">
            <a:xfrm>
              <a:off x="2959100" y="4175125"/>
              <a:ext cx="403225" cy="1816100"/>
            </a:xfrm>
            <a:custGeom>
              <a:avLst/>
              <a:gdLst>
                <a:gd name="T0" fmla="*/ 64 w 127"/>
                <a:gd name="T1" fmla="*/ 570 h 570"/>
                <a:gd name="T2" fmla="*/ 64 w 127"/>
                <a:gd name="T3" fmla="*/ 570 h 570"/>
                <a:gd name="T4" fmla="*/ 0 w 127"/>
                <a:gd name="T5" fmla="*/ 506 h 570"/>
                <a:gd name="T6" fmla="*/ 0 w 127"/>
                <a:gd name="T7" fmla="*/ 64 h 570"/>
                <a:gd name="T8" fmla="*/ 64 w 127"/>
                <a:gd name="T9" fmla="*/ 0 h 570"/>
                <a:gd name="T10" fmla="*/ 127 w 127"/>
                <a:gd name="T11" fmla="*/ 64 h 570"/>
                <a:gd name="T12" fmla="*/ 127 w 127"/>
                <a:gd name="T13" fmla="*/ 506 h 570"/>
                <a:gd name="T14" fmla="*/ 64 w 127"/>
                <a:gd name="T15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570">
                  <a:moveTo>
                    <a:pt x="64" y="570"/>
                  </a:moveTo>
                  <a:cubicBezTo>
                    <a:pt x="64" y="570"/>
                    <a:pt x="64" y="570"/>
                    <a:pt x="64" y="570"/>
                  </a:cubicBezTo>
                  <a:cubicBezTo>
                    <a:pt x="29" y="570"/>
                    <a:pt x="0" y="541"/>
                    <a:pt x="0" y="50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8"/>
                    <a:pt x="29" y="0"/>
                    <a:pt x="64" y="0"/>
                  </a:cubicBezTo>
                  <a:cubicBezTo>
                    <a:pt x="99" y="0"/>
                    <a:pt x="127" y="28"/>
                    <a:pt x="127" y="64"/>
                  </a:cubicBezTo>
                  <a:cubicBezTo>
                    <a:pt x="127" y="506"/>
                    <a:pt x="127" y="506"/>
                    <a:pt x="127" y="506"/>
                  </a:cubicBezTo>
                  <a:cubicBezTo>
                    <a:pt x="127" y="541"/>
                    <a:pt x="99" y="570"/>
                    <a:pt x="64" y="5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2" name="Freeform 12"/>
            <p:cNvSpPr>
              <a:spLocks noEditPoints="1"/>
            </p:cNvSpPr>
            <p:nvPr userDrawn="1"/>
          </p:nvSpPr>
          <p:spPr bwMode="auto">
            <a:xfrm>
              <a:off x="1131888" y="4548188"/>
              <a:ext cx="323850" cy="809625"/>
            </a:xfrm>
            <a:custGeom>
              <a:avLst/>
              <a:gdLst>
                <a:gd name="T0" fmla="*/ 51 w 102"/>
                <a:gd name="T1" fmla="*/ 10 h 254"/>
                <a:gd name="T2" fmla="*/ 92 w 102"/>
                <a:gd name="T3" fmla="*/ 51 h 254"/>
                <a:gd name="T4" fmla="*/ 92 w 102"/>
                <a:gd name="T5" fmla="*/ 203 h 254"/>
                <a:gd name="T6" fmla="*/ 51 w 102"/>
                <a:gd name="T7" fmla="*/ 244 h 254"/>
                <a:gd name="T8" fmla="*/ 10 w 102"/>
                <a:gd name="T9" fmla="*/ 203 h 254"/>
                <a:gd name="T10" fmla="*/ 10 w 102"/>
                <a:gd name="T11" fmla="*/ 51 h 254"/>
                <a:gd name="T12" fmla="*/ 51 w 102"/>
                <a:gd name="T13" fmla="*/ 10 h 254"/>
                <a:gd name="T14" fmla="*/ 51 w 102"/>
                <a:gd name="T15" fmla="*/ 0 h 254"/>
                <a:gd name="T16" fmla="*/ 0 w 102"/>
                <a:gd name="T17" fmla="*/ 51 h 254"/>
                <a:gd name="T18" fmla="*/ 0 w 102"/>
                <a:gd name="T19" fmla="*/ 203 h 254"/>
                <a:gd name="T20" fmla="*/ 51 w 102"/>
                <a:gd name="T21" fmla="*/ 254 h 254"/>
                <a:gd name="T22" fmla="*/ 102 w 102"/>
                <a:gd name="T23" fmla="*/ 203 h 254"/>
                <a:gd name="T24" fmla="*/ 102 w 102"/>
                <a:gd name="T25" fmla="*/ 51 h 254"/>
                <a:gd name="T26" fmla="*/ 51 w 102"/>
                <a:gd name="T27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2" h="254">
                  <a:moveTo>
                    <a:pt x="51" y="10"/>
                  </a:moveTo>
                  <a:cubicBezTo>
                    <a:pt x="74" y="10"/>
                    <a:pt x="92" y="28"/>
                    <a:pt x="92" y="51"/>
                  </a:cubicBezTo>
                  <a:cubicBezTo>
                    <a:pt x="92" y="203"/>
                    <a:pt x="92" y="203"/>
                    <a:pt x="92" y="203"/>
                  </a:cubicBezTo>
                  <a:cubicBezTo>
                    <a:pt x="92" y="226"/>
                    <a:pt x="74" y="244"/>
                    <a:pt x="51" y="244"/>
                  </a:cubicBezTo>
                  <a:cubicBezTo>
                    <a:pt x="29" y="244"/>
                    <a:pt x="10" y="226"/>
                    <a:pt x="10" y="203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0" y="28"/>
                    <a:pt x="29" y="10"/>
                    <a:pt x="51" y="10"/>
                  </a:cubicBezTo>
                  <a:moveTo>
                    <a:pt x="51" y="0"/>
                  </a:moveTo>
                  <a:cubicBezTo>
                    <a:pt x="23" y="0"/>
                    <a:pt x="0" y="23"/>
                    <a:pt x="0" y="51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232"/>
                    <a:pt x="23" y="254"/>
                    <a:pt x="51" y="254"/>
                  </a:cubicBezTo>
                  <a:cubicBezTo>
                    <a:pt x="79" y="254"/>
                    <a:pt x="102" y="232"/>
                    <a:pt x="102" y="203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23"/>
                    <a:pt x="79" y="0"/>
                    <a:pt x="5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3" name="Freeform 13"/>
            <p:cNvSpPr>
              <a:spLocks noEditPoints="1"/>
            </p:cNvSpPr>
            <p:nvPr userDrawn="1"/>
          </p:nvSpPr>
          <p:spPr bwMode="auto">
            <a:xfrm>
              <a:off x="565150" y="4175125"/>
              <a:ext cx="404813" cy="1816100"/>
            </a:xfrm>
            <a:custGeom>
              <a:avLst/>
              <a:gdLst>
                <a:gd name="T0" fmla="*/ 64 w 127"/>
                <a:gd name="T1" fmla="*/ 10 h 570"/>
                <a:gd name="T2" fmla="*/ 117 w 127"/>
                <a:gd name="T3" fmla="*/ 64 h 570"/>
                <a:gd name="T4" fmla="*/ 117 w 127"/>
                <a:gd name="T5" fmla="*/ 506 h 570"/>
                <a:gd name="T6" fmla="*/ 64 w 127"/>
                <a:gd name="T7" fmla="*/ 560 h 570"/>
                <a:gd name="T8" fmla="*/ 10 w 127"/>
                <a:gd name="T9" fmla="*/ 506 h 570"/>
                <a:gd name="T10" fmla="*/ 10 w 127"/>
                <a:gd name="T11" fmla="*/ 64 h 570"/>
                <a:gd name="T12" fmla="*/ 64 w 127"/>
                <a:gd name="T13" fmla="*/ 10 h 570"/>
                <a:gd name="T14" fmla="*/ 64 w 127"/>
                <a:gd name="T15" fmla="*/ 0 h 570"/>
                <a:gd name="T16" fmla="*/ 0 w 127"/>
                <a:gd name="T17" fmla="*/ 64 h 570"/>
                <a:gd name="T18" fmla="*/ 0 w 127"/>
                <a:gd name="T19" fmla="*/ 506 h 570"/>
                <a:gd name="T20" fmla="*/ 64 w 127"/>
                <a:gd name="T21" fmla="*/ 570 h 570"/>
                <a:gd name="T22" fmla="*/ 127 w 127"/>
                <a:gd name="T23" fmla="*/ 506 h 570"/>
                <a:gd name="T24" fmla="*/ 127 w 127"/>
                <a:gd name="T25" fmla="*/ 64 h 570"/>
                <a:gd name="T26" fmla="*/ 64 w 127"/>
                <a:gd name="T27" fmla="*/ 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7" h="570">
                  <a:moveTo>
                    <a:pt x="64" y="10"/>
                  </a:moveTo>
                  <a:cubicBezTo>
                    <a:pt x="93" y="10"/>
                    <a:pt x="117" y="34"/>
                    <a:pt x="117" y="64"/>
                  </a:cubicBezTo>
                  <a:cubicBezTo>
                    <a:pt x="117" y="506"/>
                    <a:pt x="117" y="506"/>
                    <a:pt x="117" y="506"/>
                  </a:cubicBezTo>
                  <a:cubicBezTo>
                    <a:pt x="117" y="536"/>
                    <a:pt x="93" y="560"/>
                    <a:pt x="64" y="560"/>
                  </a:cubicBezTo>
                  <a:cubicBezTo>
                    <a:pt x="34" y="560"/>
                    <a:pt x="10" y="536"/>
                    <a:pt x="10" y="506"/>
                  </a:cubicBezTo>
                  <a:cubicBezTo>
                    <a:pt x="10" y="64"/>
                    <a:pt x="10" y="64"/>
                    <a:pt x="10" y="64"/>
                  </a:cubicBezTo>
                  <a:cubicBezTo>
                    <a:pt x="10" y="34"/>
                    <a:pt x="34" y="10"/>
                    <a:pt x="64" y="10"/>
                  </a:cubicBezTo>
                  <a:moveTo>
                    <a:pt x="64" y="0"/>
                  </a:moveTo>
                  <a:cubicBezTo>
                    <a:pt x="29" y="0"/>
                    <a:pt x="0" y="28"/>
                    <a:pt x="0" y="64"/>
                  </a:cubicBezTo>
                  <a:cubicBezTo>
                    <a:pt x="0" y="506"/>
                    <a:pt x="0" y="506"/>
                    <a:pt x="0" y="506"/>
                  </a:cubicBezTo>
                  <a:cubicBezTo>
                    <a:pt x="0" y="541"/>
                    <a:pt x="29" y="570"/>
                    <a:pt x="64" y="570"/>
                  </a:cubicBezTo>
                  <a:cubicBezTo>
                    <a:pt x="99" y="570"/>
                    <a:pt x="127" y="541"/>
                    <a:pt x="127" y="506"/>
                  </a:cubicBezTo>
                  <a:cubicBezTo>
                    <a:pt x="127" y="64"/>
                    <a:pt x="127" y="64"/>
                    <a:pt x="127" y="64"/>
                  </a:cubicBezTo>
                  <a:cubicBezTo>
                    <a:pt x="127" y="28"/>
                    <a:pt x="99" y="0"/>
                    <a:pt x="6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4" name="Freeform 14"/>
            <p:cNvSpPr>
              <a:spLocks/>
            </p:cNvSpPr>
            <p:nvPr userDrawn="1"/>
          </p:nvSpPr>
          <p:spPr bwMode="auto">
            <a:xfrm>
              <a:off x="10434638" y="4092575"/>
              <a:ext cx="323850" cy="812800"/>
            </a:xfrm>
            <a:custGeom>
              <a:avLst/>
              <a:gdLst>
                <a:gd name="T0" fmla="*/ 51 w 102"/>
                <a:gd name="T1" fmla="*/ 255 h 255"/>
                <a:gd name="T2" fmla="*/ 51 w 102"/>
                <a:gd name="T3" fmla="*/ 255 h 255"/>
                <a:gd name="T4" fmla="*/ 0 w 102"/>
                <a:gd name="T5" fmla="*/ 204 h 255"/>
                <a:gd name="T6" fmla="*/ 0 w 102"/>
                <a:gd name="T7" fmla="*/ 51 h 255"/>
                <a:gd name="T8" fmla="*/ 51 w 102"/>
                <a:gd name="T9" fmla="*/ 0 h 255"/>
                <a:gd name="T10" fmla="*/ 102 w 102"/>
                <a:gd name="T11" fmla="*/ 51 h 255"/>
                <a:gd name="T12" fmla="*/ 102 w 102"/>
                <a:gd name="T13" fmla="*/ 204 h 255"/>
                <a:gd name="T14" fmla="*/ 51 w 102"/>
                <a:gd name="T15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2" h="255">
                  <a:moveTo>
                    <a:pt x="51" y="255"/>
                  </a:moveTo>
                  <a:cubicBezTo>
                    <a:pt x="51" y="255"/>
                    <a:pt x="51" y="255"/>
                    <a:pt x="51" y="255"/>
                  </a:cubicBezTo>
                  <a:cubicBezTo>
                    <a:pt x="23" y="255"/>
                    <a:pt x="0" y="232"/>
                    <a:pt x="0" y="204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23"/>
                    <a:pt x="23" y="0"/>
                    <a:pt x="51" y="0"/>
                  </a:cubicBezTo>
                  <a:cubicBezTo>
                    <a:pt x="79" y="0"/>
                    <a:pt x="102" y="23"/>
                    <a:pt x="102" y="51"/>
                  </a:cubicBezTo>
                  <a:cubicBezTo>
                    <a:pt x="102" y="204"/>
                    <a:pt x="102" y="204"/>
                    <a:pt x="102" y="204"/>
                  </a:cubicBezTo>
                  <a:cubicBezTo>
                    <a:pt x="102" y="232"/>
                    <a:pt x="79" y="255"/>
                    <a:pt x="51" y="2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5" name="Freeform 15"/>
            <p:cNvSpPr>
              <a:spLocks/>
            </p:cNvSpPr>
            <p:nvPr userDrawn="1"/>
          </p:nvSpPr>
          <p:spPr bwMode="auto">
            <a:xfrm>
              <a:off x="10110788" y="4564063"/>
              <a:ext cx="193675" cy="325438"/>
            </a:xfrm>
            <a:custGeom>
              <a:avLst/>
              <a:gdLst>
                <a:gd name="T0" fmla="*/ 31 w 61"/>
                <a:gd name="T1" fmla="*/ 102 h 102"/>
                <a:gd name="T2" fmla="*/ 31 w 61"/>
                <a:gd name="T3" fmla="*/ 102 h 102"/>
                <a:gd name="T4" fmla="*/ 0 w 61"/>
                <a:gd name="T5" fmla="*/ 71 h 102"/>
                <a:gd name="T6" fmla="*/ 0 w 61"/>
                <a:gd name="T7" fmla="*/ 30 h 102"/>
                <a:gd name="T8" fmla="*/ 31 w 61"/>
                <a:gd name="T9" fmla="*/ 0 h 102"/>
                <a:gd name="T10" fmla="*/ 61 w 61"/>
                <a:gd name="T11" fmla="*/ 30 h 102"/>
                <a:gd name="T12" fmla="*/ 61 w 61"/>
                <a:gd name="T13" fmla="*/ 71 h 102"/>
                <a:gd name="T14" fmla="*/ 31 w 61"/>
                <a:gd name="T15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" h="102">
                  <a:moveTo>
                    <a:pt x="31" y="102"/>
                  </a:moveTo>
                  <a:cubicBezTo>
                    <a:pt x="31" y="102"/>
                    <a:pt x="31" y="102"/>
                    <a:pt x="31" y="102"/>
                  </a:cubicBezTo>
                  <a:cubicBezTo>
                    <a:pt x="14" y="102"/>
                    <a:pt x="0" y="88"/>
                    <a:pt x="0" y="71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48" y="0"/>
                    <a:pt x="61" y="14"/>
                    <a:pt x="61" y="30"/>
                  </a:cubicBezTo>
                  <a:cubicBezTo>
                    <a:pt x="61" y="71"/>
                    <a:pt x="61" y="71"/>
                    <a:pt x="61" y="71"/>
                  </a:cubicBezTo>
                  <a:cubicBezTo>
                    <a:pt x="61" y="88"/>
                    <a:pt x="48" y="102"/>
                    <a:pt x="31" y="10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6" name="Freeform 16"/>
            <p:cNvSpPr>
              <a:spLocks/>
            </p:cNvSpPr>
            <p:nvPr userDrawn="1"/>
          </p:nvSpPr>
          <p:spPr bwMode="auto">
            <a:xfrm>
              <a:off x="10920413" y="3462338"/>
              <a:ext cx="403225" cy="1814513"/>
            </a:xfrm>
            <a:custGeom>
              <a:avLst/>
              <a:gdLst>
                <a:gd name="T0" fmla="*/ 63 w 127"/>
                <a:gd name="T1" fmla="*/ 570 h 570"/>
                <a:gd name="T2" fmla="*/ 63 w 127"/>
                <a:gd name="T3" fmla="*/ 570 h 570"/>
                <a:gd name="T4" fmla="*/ 0 w 127"/>
                <a:gd name="T5" fmla="*/ 506 h 570"/>
                <a:gd name="T6" fmla="*/ 0 w 127"/>
                <a:gd name="T7" fmla="*/ 64 h 570"/>
                <a:gd name="T8" fmla="*/ 63 w 127"/>
                <a:gd name="T9" fmla="*/ 0 h 570"/>
                <a:gd name="T10" fmla="*/ 127 w 127"/>
                <a:gd name="T11" fmla="*/ 64 h 570"/>
                <a:gd name="T12" fmla="*/ 127 w 127"/>
                <a:gd name="T13" fmla="*/ 506 h 570"/>
                <a:gd name="T14" fmla="*/ 63 w 127"/>
                <a:gd name="T15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570">
                  <a:moveTo>
                    <a:pt x="63" y="570"/>
                  </a:moveTo>
                  <a:cubicBezTo>
                    <a:pt x="63" y="570"/>
                    <a:pt x="63" y="570"/>
                    <a:pt x="63" y="570"/>
                  </a:cubicBezTo>
                  <a:cubicBezTo>
                    <a:pt x="28" y="570"/>
                    <a:pt x="0" y="541"/>
                    <a:pt x="0" y="50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9"/>
                    <a:pt x="28" y="0"/>
                    <a:pt x="63" y="0"/>
                  </a:cubicBezTo>
                  <a:cubicBezTo>
                    <a:pt x="98" y="0"/>
                    <a:pt x="127" y="29"/>
                    <a:pt x="127" y="64"/>
                  </a:cubicBezTo>
                  <a:cubicBezTo>
                    <a:pt x="127" y="506"/>
                    <a:pt x="127" y="506"/>
                    <a:pt x="127" y="506"/>
                  </a:cubicBezTo>
                  <a:cubicBezTo>
                    <a:pt x="127" y="541"/>
                    <a:pt x="98" y="570"/>
                    <a:pt x="63" y="5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7" name="Freeform 17"/>
            <p:cNvSpPr>
              <a:spLocks/>
            </p:cNvSpPr>
            <p:nvPr userDrawn="1"/>
          </p:nvSpPr>
          <p:spPr bwMode="auto">
            <a:xfrm>
              <a:off x="11487150" y="4175125"/>
              <a:ext cx="403225" cy="1816100"/>
            </a:xfrm>
            <a:custGeom>
              <a:avLst/>
              <a:gdLst>
                <a:gd name="T0" fmla="*/ 63 w 127"/>
                <a:gd name="T1" fmla="*/ 570 h 570"/>
                <a:gd name="T2" fmla="*/ 63 w 127"/>
                <a:gd name="T3" fmla="*/ 570 h 570"/>
                <a:gd name="T4" fmla="*/ 0 w 127"/>
                <a:gd name="T5" fmla="*/ 506 h 570"/>
                <a:gd name="T6" fmla="*/ 0 w 127"/>
                <a:gd name="T7" fmla="*/ 64 h 570"/>
                <a:gd name="T8" fmla="*/ 63 w 127"/>
                <a:gd name="T9" fmla="*/ 0 h 570"/>
                <a:gd name="T10" fmla="*/ 127 w 127"/>
                <a:gd name="T11" fmla="*/ 64 h 570"/>
                <a:gd name="T12" fmla="*/ 127 w 127"/>
                <a:gd name="T13" fmla="*/ 506 h 570"/>
                <a:gd name="T14" fmla="*/ 63 w 127"/>
                <a:gd name="T15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570">
                  <a:moveTo>
                    <a:pt x="63" y="570"/>
                  </a:moveTo>
                  <a:cubicBezTo>
                    <a:pt x="63" y="570"/>
                    <a:pt x="63" y="570"/>
                    <a:pt x="63" y="570"/>
                  </a:cubicBezTo>
                  <a:cubicBezTo>
                    <a:pt x="28" y="570"/>
                    <a:pt x="0" y="541"/>
                    <a:pt x="0" y="50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8"/>
                    <a:pt x="28" y="0"/>
                    <a:pt x="63" y="0"/>
                  </a:cubicBezTo>
                  <a:cubicBezTo>
                    <a:pt x="99" y="0"/>
                    <a:pt x="127" y="28"/>
                    <a:pt x="127" y="64"/>
                  </a:cubicBezTo>
                  <a:cubicBezTo>
                    <a:pt x="127" y="506"/>
                    <a:pt x="127" y="506"/>
                    <a:pt x="127" y="506"/>
                  </a:cubicBezTo>
                  <a:cubicBezTo>
                    <a:pt x="127" y="541"/>
                    <a:pt x="99" y="570"/>
                    <a:pt x="63" y="5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8" name="Freeform 18"/>
            <p:cNvSpPr>
              <a:spLocks noEditPoints="1"/>
            </p:cNvSpPr>
            <p:nvPr userDrawn="1"/>
          </p:nvSpPr>
          <p:spPr bwMode="auto">
            <a:xfrm>
              <a:off x="8367713" y="4159250"/>
              <a:ext cx="325438" cy="809625"/>
            </a:xfrm>
            <a:custGeom>
              <a:avLst/>
              <a:gdLst>
                <a:gd name="T0" fmla="*/ 51 w 102"/>
                <a:gd name="T1" fmla="*/ 10 h 254"/>
                <a:gd name="T2" fmla="*/ 92 w 102"/>
                <a:gd name="T3" fmla="*/ 51 h 254"/>
                <a:gd name="T4" fmla="*/ 92 w 102"/>
                <a:gd name="T5" fmla="*/ 203 h 254"/>
                <a:gd name="T6" fmla="*/ 51 w 102"/>
                <a:gd name="T7" fmla="*/ 244 h 254"/>
                <a:gd name="T8" fmla="*/ 10 w 102"/>
                <a:gd name="T9" fmla="*/ 203 h 254"/>
                <a:gd name="T10" fmla="*/ 10 w 102"/>
                <a:gd name="T11" fmla="*/ 51 h 254"/>
                <a:gd name="T12" fmla="*/ 51 w 102"/>
                <a:gd name="T13" fmla="*/ 10 h 254"/>
                <a:gd name="T14" fmla="*/ 51 w 102"/>
                <a:gd name="T15" fmla="*/ 0 h 254"/>
                <a:gd name="T16" fmla="*/ 51 w 102"/>
                <a:gd name="T17" fmla="*/ 0 h 254"/>
                <a:gd name="T18" fmla="*/ 0 w 102"/>
                <a:gd name="T19" fmla="*/ 51 h 254"/>
                <a:gd name="T20" fmla="*/ 0 w 102"/>
                <a:gd name="T21" fmla="*/ 203 h 254"/>
                <a:gd name="T22" fmla="*/ 51 w 102"/>
                <a:gd name="T23" fmla="*/ 254 h 254"/>
                <a:gd name="T24" fmla="*/ 102 w 102"/>
                <a:gd name="T25" fmla="*/ 203 h 254"/>
                <a:gd name="T26" fmla="*/ 102 w 102"/>
                <a:gd name="T27" fmla="*/ 51 h 254"/>
                <a:gd name="T28" fmla="*/ 51 w 102"/>
                <a:gd name="T29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2" h="254">
                  <a:moveTo>
                    <a:pt x="51" y="10"/>
                  </a:moveTo>
                  <a:cubicBezTo>
                    <a:pt x="73" y="10"/>
                    <a:pt x="92" y="28"/>
                    <a:pt x="92" y="51"/>
                  </a:cubicBezTo>
                  <a:cubicBezTo>
                    <a:pt x="92" y="203"/>
                    <a:pt x="92" y="203"/>
                    <a:pt x="92" y="203"/>
                  </a:cubicBezTo>
                  <a:cubicBezTo>
                    <a:pt x="92" y="226"/>
                    <a:pt x="73" y="244"/>
                    <a:pt x="51" y="244"/>
                  </a:cubicBezTo>
                  <a:cubicBezTo>
                    <a:pt x="28" y="244"/>
                    <a:pt x="10" y="226"/>
                    <a:pt x="10" y="203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0" y="28"/>
                    <a:pt x="28" y="10"/>
                    <a:pt x="51" y="10"/>
                  </a:cubicBezTo>
                  <a:moveTo>
                    <a:pt x="51" y="0"/>
                  </a:moveTo>
                  <a:cubicBezTo>
                    <a:pt x="51" y="0"/>
                    <a:pt x="51" y="0"/>
                    <a:pt x="51" y="0"/>
                  </a:cubicBezTo>
                  <a:cubicBezTo>
                    <a:pt x="23" y="0"/>
                    <a:pt x="0" y="23"/>
                    <a:pt x="0" y="51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231"/>
                    <a:pt x="23" y="254"/>
                    <a:pt x="51" y="254"/>
                  </a:cubicBezTo>
                  <a:cubicBezTo>
                    <a:pt x="79" y="254"/>
                    <a:pt x="102" y="231"/>
                    <a:pt x="102" y="203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23"/>
                    <a:pt x="79" y="0"/>
                    <a:pt x="5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59" name="Freeform 19"/>
            <p:cNvSpPr>
              <a:spLocks/>
            </p:cNvSpPr>
            <p:nvPr userDrawn="1"/>
          </p:nvSpPr>
          <p:spPr bwMode="auto">
            <a:xfrm>
              <a:off x="9658350" y="4548188"/>
              <a:ext cx="322263" cy="809625"/>
            </a:xfrm>
            <a:custGeom>
              <a:avLst/>
              <a:gdLst>
                <a:gd name="T0" fmla="*/ 51 w 101"/>
                <a:gd name="T1" fmla="*/ 254 h 254"/>
                <a:gd name="T2" fmla="*/ 51 w 101"/>
                <a:gd name="T3" fmla="*/ 254 h 254"/>
                <a:gd name="T4" fmla="*/ 0 w 101"/>
                <a:gd name="T5" fmla="*/ 203 h 254"/>
                <a:gd name="T6" fmla="*/ 0 w 101"/>
                <a:gd name="T7" fmla="*/ 51 h 254"/>
                <a:gd name="T8" fmla="*/ 51 w 101"/>
                <a:gd name="T9" fmla="*/ 0 h 254"/>
                <a:gd name="T10" fmla="*/ 101 w 101"/>
                <a:gd name="T11" fmla="*/ 51 h 254"/>
                <a:gd name="T12" fmla="*/ 101 w 101"/>
                <a:gd name="T13" fmla="*/ 203 h 254"/>
                <a:gd name="T14" fmla="*/ 51 w 101"/>
                <a:gd name="T15" fmla="*/ 254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" h="254">
                  <a:moveTo>
                    <a:pt x="51" y="254"/>
                  </a:moveTo>
                  <a:cubicBezTo>
                    <a:pt x="51" y="254"/>
                    <a:pt x="51" y="254"/>
                    <a:pt x="51" y="254"/>
                  </a:cubicBezTo>
                  <a:cubicBezTo>
                    <a:pt x="22" y="254"/>
                    <a:pt x="0" y="232"/>
                    <a:pt x="0" y="203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23"/>
                    <a:pt x="22" y="0"/>
                    <a:pt x="51" y="0"/>
                  </a:cubicBezTo>
                  <a:cubicBezTo>
                    <a:pt x="79" y="0"/>
                    <a:pt x="101" y="23"/>
                    <a:pt x="101" y="51"/>
                  </a:cubicBezTo>
                  <a:cubicBezTo>
                    <a:pt x="101" y="203"/>
                    <a:pt x="101" y="203"/>
                    <a:pt x="101" y="203"/>
                  </a:cubicBezTo>
                  <a:cubicBezTo>
                    <a:pt x="101" y="232"/>
                    <a:pt x="79" y="254"/>
                    <a:pt x="51" y="2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0" name="Freeform 20"/>
            <p:cNvSpPr>
              <a:spLocks noEditPoints="1"/>
            </p:cNvSpPr>
            <p:nvPr userDrawn="1"/>
          </p:nvSpPr>
          <p:spPr bwMode="auto">
            <a:xfrm>
              <a:off x="8855075" y="3525838"/>
              <a:ext cx="403225" cy="1816100"/>
            </a:xfrm>
            <a:custGeom>
              <a:avLst/>
              <a:gdLst>
                <a:gd name="T0" fmla="*/ 63 w 127"/>
                <a:gd name="T1" fmla="*/ 11 h 570"/>
                <a:gd name="T2" fmla="*/ 117 w 127"/>
                <a:gd name="T3" fmla="*/ 64 h 570"/>
                <a:gd name="T4" fmla="*/ 117 w 127"/>
                <a:gd name="T5" fmla="*/ 507 h 570"/>
                <a:gd name="T6" fmla="*/ 63 w 127"/>
                <a:gd name="T7" fmla="*/ 560 h 570"/>
                <a:gd name="T8" fmla="*/ 10 w 127"/>
                <a:gd name="T9" fmla="*/ 507 h 570"/>
                <a:gd name="T10" fmla="*/ 10 w 127"/>
                <a:gd name="T11" fmla="*/ 64 h 570"/>
                <a:gd name="T12" fmla="*/ 63 w 127"/>
                <a:gd name="T13" fmla="*/ 11 h 570"/>
                <a:gd name="T14" fmla="*/ 63 w 127"/>
                <a:gd name="T15" fmla="*/ 0 h 570"/>
                <a:gd name="T16" fmla="*/ 0 w 127"/>
                <a:gd name="T17" fmla="*/ 64 h 570"/>
                <a:gd name="T18" fmla="*/ 0 w 127"/>
                <a:gd name="T19" fmla="*/ 507 h 570"/>
                <a:gd name="T20" fmla="*/ 63 w 127"/>
                <a:gd name="T21" fmla="*/ 570 h 570"/>
                <a:gd name="T22" fmla="*/ 127 w 127"/>
                <a:gd name="T23" fmla="*/ 507 h 570"/>
                <a:gd name="T24" fmla="*/ 127 w 127"/>
                <a:gd name="T25" fmla="*/ 64 h 570"/>
                <a:gd name="T26" fmla="*/ 63 w 127"/>
                <a:gd name="T27" fmla="*/ 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7" h="570">
                  <a:moveTo>
                    <a:pt x="63" y="11"/>
                  </a:moveTo>
                  <a:cubicBezTo>
                    <a:pt x="93" y="11"/>
                    <a:pt x="117" y="35"/>
                    <a:pt x="117" y="64"/>
                  </a:cubicBezTo>
                  <a:cubicBezTo>
                    <a:pt x="117" y="507"/>
                    <a:pt x="117" y="507"/>
                    <a:pt x="117" y="507"/>
                  </a:cubicBezTo>
                  <a:cubicBezTo>
                    <a:pt x="117" y="536"/>
                    <a:pt x="93" y="560"/>
                    <a:pt x="63" y="560"/>
                  </a:cubicBezTo>
                  <a:cubicBezTo>
                    <a:pt x="34" y="560"/>
                    <a:pt x="10" y="536"/>
                    <a:pt x="10" y="507"/>
                  </a:cubicBezTo>
                  <a:cubicBezTo>
                    <a:pt x="10" y="64"/>
                    <a:pt x="10" y="64"/>
                    <a:pt x="10" y="64"/>
                  </a:cubicBezTo>
                  <a:cubicBezTo>
                    <a:pt x="10" y="35"/>
                    <a:pt x="34" y="11"/>
                    <a:pt x="63" y="11"/>
                  </a:cubicBezTo>
                  <a:moveTo>
                    <a:pt x="63" y="0"/>
                  </a:moveTo>
                  <a:cubicBezTo>
                    <a:pt x="28" y="0"/>
                    <a:pt x="0" y="29"/>
                    <a:pt x="0" y="64"/>
                  </a:cubicBezTo>
                  <a:cubicBezTo>
                    <a:pt x="0" y="507"/>
                    <a:pt x="0" y="507"/>
                    <a:pt x="0" y="507"/>
                  </a:cubicBezTo>
                  <a:cubicBezTo>
                    <a:pt x="0" y="542"/>
                    <a:pt x="28" y="570"/>
                    <a:pt x="63" y="570"/>
                  </a:cubicBezTo>
                  <a:cubicBezTo>
                    <a:pt x="98" y="570"/>
                    <a:pt x="127" y="542"/>
                    <a:pt x="127" y="507"/>
                  </a:cubicBezTo>
                  <a:cubicBezTo>
                    <a:pt x="127" y="64"/>
                    <a:pt x="127" y="64"/>
                    <a:pt x="127" y="64"/>
                  </a:cubicBezTo>
                  <a:cubicBezTo>
                    <a:pt x="127" y="29"/>
                    <a:pt x="98" y="0"/>
                    <a:pt x="63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1" name="Freeform 21"/>
            <p:cNvSpPr>
              <a:spLocks noEditPoints="1"/>
            </p:cNvSpPr>
            <p:nvPr userDrawn="1"/>
          </p:nvSpPr>
          <p:spPr bwMode="auto">
            <a:xfrm>
              <a:off x="4075113" y="4159250"/>
              <a:ext cx="323850" cy="809625"/>
            </a:xfrm>
            <a:custGeom>
              <a:avLst/>
              <a:gdLst>
                <a:gd name="T0" fmla="*/ 51 w 102"/>
                <a:gd name="T1" fmla="*/ 10 h 254"/>
                <a:gd name="T2" fmla="*/ 92 w 102"/>
                <a:gd name="T3" fmla="*/ 51 h 254"/>
                <a:gd name="T4" fmla="*/ 92 w 102"/>
                <a:gd name="T5" fmla="*/ 203 h 254"/>
                <a:gd name="T6" fmla="*/ 51 w 102"/>
                <a:gd name="T7" fmla="*/ 244 h 254"/>
                <a:gd name="T8" fmla="*/ 10 w 102"/>
                <a:gd name="T9" fmla="*/ 203 h 254"/>
                <a:gd name="T10" fmla="*/ 10 w 102"/>
                <a:gd name="T11" fmla="*/ 51 h 254"/>
                <a:gd name="T12" fmla="*/ 51 w 102"/>
                <a:gd name="T13" fmla="*/ 10 h 254"/>
                <a:gd name="T14" fmla="*/ 51 w 102"/>
                <a:gd name="T15" fmla="*/ 0 h 254"/>
                <a:gd name="T16" fmla="*/ 0 w 102"/>
                <a:gd name="T17" fmla="*/ 51 h 254"/>
                <a:gd name="T18" fmla="*/ 0 w 102"/>
                <a:gd name="T19" fmla="*/ 203 h 254"/>
                <a:gd name="T20" fmla="*/ 51 w 102"/>
                <a:gd name="T21" fmla="*/ 254 h 254"/>
                <a:gd name="T22" fmla="*/ 102 w 102"/>
                <a:gd name="T23" fmla="*/ 203 h 254"/>
                <a:gd name="T24" fmla="*/ 102 w 102"/>
                <a:gd name="T25" fmla="*/ 51 h 254"/>
                <a:gd name="T26" fmla="*/ 51 w 102"/>
                <a:gd name="T27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2" h="254">
                  <a:moveTo>
                    <a:pt x="51" y="10"/>
                  </a:moveTo>
                  <a:cubicBezTo>
                    <a:pt x="74" y="10"/>
                    <a:pt x="92" y="28"/>
                    <a:pt x="92" y="51"/>
                  </a:cubicBezTo>
                  <a:cubicBezTo>
                    <a:pt x="92" y="203"/>
                    <a:pt x="92" y="203"/>
                    <a:pt x="92" y="203"/>
                  </a:cubicBezTo>
                  <a:cubicBezTo>
                    <a:pt x="92" y="226"/>
                    <a:pt x="74" y="244"/>
                    <a:pt x="51" y="244"/>
                  </a:cubicBezTo>
                  <a:cubicBezTo>
                    <a:pt x="29" y="244"/>
                    <a:pt x="10" y="226"/>
                    <a:pt x="10" y="203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0" y="28"/>
                    <a:pt x="29" y="10"/>
                    <a:pt x="51" y="10"/>
                  </a:cubicBezTo>
                  <a:moveTo>
                    <a:pt x="51" y="0"/>
                  </a:moveTo>
                  <a:cubicBezTo>
                    <a:pt x="23" y="0"/>
                    <a:pt x="0" y="23"/>
                    <a:pt x="0" y="51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231"/>
                    <a:pt x="23" y="254"/>
                    <a:pt x="51" y="254"/>
                  </a:cubicBezTo>
                  <a:cubicBezTo>
                    <a:pt x="79" y="254"/>
                    <a:pt x="102" y="231"/>
                    <a:pt x="102" y="203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23"/>
                    <a:pt x="79" y="0"/>
                    <a:pt x="5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2" name="Freeform 22"/>
            <p:cNvSpPr>
              <a:spLocks noEditPoints="1"/>
            </p:cNvSpPr>
            <p:nvPr userDrawn="1"/>
          </p:nvSpPr>
          <p:spPr bwMode="auto">
            <a:xfrm>
              <a:off x="4560888" y="3525838"/>
              <a:ext cx="403225" cy="1816100"/>
            </a:xfrm>
            <a:custGeom>
              <a:avLst/>
              <a:gdLst>
                <a:gd name="T0" fmla="*/ 63 w 127"/>
                <a:gd name="T1" fmla="*/ 11 h 570"/>
                <a:gd name="T2" fmla="*/ 117 w 127"/>
                <a:gd name="T3" fmla="*/ 64 h 570"/>
                <a:gd name="T4" fmla="*/ 117 w 127"/>
                <a:gd name="T5" fmla="*/ 507 h 570"/>
                <a:gd name="T6" fmla="*/ 63 w 127"/>
                <a:gd name="T7" fmla="*/ 560 h 570"/>
                <a:gd name="T8" fmla="*/ 10 w 127"/>
                <a:gd name="T9" fmla="*/ 507 h 570"/>
                <a:gd name="T10" fmla="*/ 10 w 127"/>
                <a:gd name="T11" fmla="*/ 64 h 570"/>
                <a:gd name="T12" fmla="*/ 63 w 127"/>
                <a:gd name="T13" fmla="*/ 11 h 570"/>
                <a:gd name="T14" fmla="*/ 63 w 127"/>
                <a:gd name="T15" fmla="*/ 0 h 570"/>
                <a:gd name="T16" fmla="*/ 0 w 127"/>
                <a:gd name="T17" fmla="*/ 64 h 570"/>
                <a:gd name="T18" fmla="*/ 0 w 127"/>
                <a:gd name="T19" fmla="*/ 507 h 570"/>
                <a:gd name="T20" fmla="*/ 63 w 127"/>
                <a:gd name="T21" fmla="*/ 570 h 570"/>
                <a:gd name="T22" fmla="*/ 127 w 127"/>
                <a:gd name="T23" fmla="*/ 507 h 570"/>
                <a:gd name="T24" fmla="*/ 127 w 127"/>
                <a:gd name="T25" fmla="*/ 64 h 570"/>
                <a:gd name="T26" fmla="*/ 63 w 127"/>
                <a:gd name="T27" fmla="*/ 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7" h="570">
                  <a:moveTo>
                    <a:pt x="63" y="11"/>
                  </a:moveTo>
                  <a:cubicBezTo>
                    <a:pt x="93" y="11"/>
                    <a:pt x="117" y="35"/>
                    <a:pt x="117" y="64"/>
                  </a:cubicBezTo>
                  <a:cubicBezTo>
                    <a:pt x="117" y="507"/>
                    <a:pt x="117" y="507"/>
                    <a:pt x="117" y="507"/>
                  </a:cubicBezTo>
                  <a:cubicBezTo>
                    <a:pt x="117" y="536"/>
                    <a:pt x="93" y="560"/>
                    <a:pt x="63" y="560"/>
                  </a:cubicBezTo>
                  <a:cubicBezTo>
                    <a:pt x="34" y="560"/>
                    <a:pt x="10" y="536"/>
                    <a:pt x="10" y="507"/>
                  </a:cubicBezTo>
                  <a:cubicBezTo>
                    <a:pt x="10" y="64"/>
                    <a:pt x="10" y="64"/>
                    <a:pt x="10" y="64"/>
                  </a:cubicBezTo>
                  <a:cubicBezTo>
                    <a:pt x="10" y="35"/>
                    <a:pt x="34" y="11"/>
                    <a:pt x="63" y="11"/>
                  </a:cubicBezTo>
                  <a:moveTo>
                    <a:pt x="63" y="0"/>
                  </a:moveTo>
                  <a:cubicBezTo>
                    <a:pt x="28" y="0"/>
                    <a:pt x="0" y="29"/>
                    <a:pt x="0" y="64"/>
                  </a:cubicBezTo>
                  <a:cubicBezTo>
                    <a:pt x="0" y="507"/>
                    <a:pt x="0" y="507"/>
                    <a:pt x="0" y="507"/>
                  </a:cubicBezTo>
                  <a:cubicBezTo>
                    <a:pt x="0" y="542"/>
                    <a:pt x="28" y="570"/>
                    <a:pt x="63" y="570"/>
                  </a:cubicBezTo>
                  <a:cubicBezTo>
                    <a:pt x="99" y="570"/>
                    <a:pt x="127" y="542"/>
                    <a:pt x="127" y="507"/>
                  </a:cubicBezTo>
                  <a:cubicBezTo>
                    <a:pt x="127" y="64"/>
                    <a:pt x="127" y="64"/>
                    <a:pt x="127" y="64"/>
                  </a:cubicBezTo>
                  <a:cubicBezTo>
                    <a:pt x="127" y="29"/>
                    <a:pt x="99" y="0"/>
                    <a:pt x="63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3" name="Freeform 23"/>
            <p:cNvSpPr>
              <a:spLocks/>
            </p:cNvSpPr>
            <p:nvPr userDrawn="1"/>
          </p:nvSpPr>
          <p:spPr bwMode="auto">
            <a:xfrm>
              <a:off x="9093200" y="4175125"/>
              <a:ext cx="403225" cy="1816100"/>
            </a:xfrm>
            <a:custGeom>
              <a:avLst/>
              <a:gdLst>
                <a:gd name="T0" fmla="*/ 63 w 127"/>
                <a:gd name="T1" fmla="*/ 570 h 570"/>
                <a:gd name="T2" fmla="*/ 63 w 127"/>
                <a:gd name="T3" fmla="*/ 570 h 570"/>
                <a:gd name="T4" fmla="*/ 0 w 127"/>
                <a:gd name="T5" fmla="*/ 506 h 570"/>
                <a:gd name="T6" fmla="*/ 0 w 127"/>
                <a:gd name="T7" fmla="*/ 64 h 570"/>
                <a:gd name="T8" fmla="*/ 63 w 127"/>
                <a:gd name="T9" fmla="*/ 0 h 570"/>
                <a:gd name="T10" fmla="*/ 127 w 127"/>
                <a:gd name="T11" fmla="*/ 64 h 570"/>
                <a:gd name="T12" fmla="*/ 127 w 127"/>
                <a:gd name="T13" fmla="*/ 506 h 570"/>
                <a:gd name="T14" fmla="*/ 63 w 127"/>
                <a:gd name="T15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570">
                  <a:moveTo>
                    <a:pt x="63" y="570"/>
                  </a:moveTo>
                  <a:cubicBezTo>
                    <a:pt x="63" y="570"/>
                    <a:pt x="63" y="570"/>
                    <a:pt x="63" y="570"/>
                  </a:cubicBezTo>
                  <a:cubicBezTo>
                    <a:pt x="28" y="570"/>
                    <a:pt x="0" y="541"/>
                    <a:pt x="0" y="50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8"/>
                    <a:pt x="28" y="0"/>
                    <a:pt x="63" y="0"/>
                  </a:cubicBezTo>
                  <a:cubicBezTo>
                    <a:pt x="98" y="0"/>
                    <a:pt x="127" y="28"/>
                    <a:pt x="127" y="64"/>
                  </a:cubicBezTo>
                  <a:cubicBezTo>
                    <a:pt x="127" y="506"/>
                    <a:pt x="127" y="506"/>
                    <a:pt x="127" y="506"/>
                  </a:cubicBezTo>
                  <a:cubicBezTo>
                    <a:pt x="127" y="541"/>
                    <a:pt x="98" y="570"/>
                    <a:pt x="63" y="5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4" name="Freeform 24"/>
            <p:cNvSpPr>
              <a:spLocks noEditPoints="1"/>
            </p:cNvSpPr>
            <p:nvPr userDrawn="1"/>
          </p:nvSpPr>
          <p:spPr bwMode="auto">
            <a:xfrm>
              <a:off x="5940425" y="3981450"/>
              <a:ext cx="323850" cy="808038"/>
            </a:xfrm>
            <a:custGeom>
              <a:avLst/>
              <a:gdLst>
                <a:gd name="T0" fmla="*/ 51 w 102"/>
                <a:gd name="T1" fmla="*/ 10 h 254"/>
                <a:gd name="T2" fmla="*/ 91 w 102"/>
                <a:gd name="T3" fmla="*/ 51 h 254"/>
                <a:gd name="T4" fmla="*/ 91 w 102"/>
                <a:gd name="T5" fmla="*/ 203 h 254"/>
                <a:gd name="T6" fmla="*/ 51 w 102"/>
                <a:gd name="T7" fmla="*/ 244 h 254"/>
                <a:gd name="T8" fmla="*/ 10 w 102"/>
                <a:gd name="T9" fmla="*/ 203 h 254"/>
                <a:gd name="T10" fmla="*/ 10 w 102"/>
                <a:gd name="T11" fmla="*/ 51 h 254"/>
                <a:gd name="T12" fmla="*/ 51 w 102"/>
                <a:gd name="T13" fmla="*/ 10 h 254"/>
                <a:gd name="T14" fmla="*/ 51 w 102"/>
                <a:gd name="T15" fmla="*/ 0 h 254"/>
                <a:gd name="T16" fmla="*/ 0 w 102"/>
                <a:gd name="T17" fmla="*/ 51 h 254"/>
                <a:gd name="T18" fmla="*/ 0 w 102"/>
                <a:gd name="T19" fmla="*/ 203 h 254"/>
                <a:gd name="T20" fmla="*/ 51 w 102"/>
                <a:gd name="T21" fmla="*/ 254 h 254"/>
                <a:gd name="T22" fmla="*/ 102 w 102"/>
                <a:gd name="T23" fmla="*/ 203 h 254"/>
                <a:gd name="T24" fmla="*/ 102 w 102"/>
                <a:gd name="T25" fmla="*/ 51 h 254"/>
                <a:gd name="T26" fmla="*/ 51 w 102"/>
                <a:gd name="T27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2" h="254">
                  <a:moveTo>
                    <a:pt x="51" y="10"/>
                  </a:moveTo>
                  <a:cubicBezTo>
                    <a:pt x="73" y="10"/>
                    <a:pt x="91" y="28"/>
                    <a:pt x="91" y="51"/>
                  </a:cubicBezTo>
                  <a:cubicBezTo>
                    <a:pt x="91" y="203"/>
                    <a:pt x="91" y="203"/>
                    <a:pt x="91" y="203"/>
                  </a:cubicBezTo>
                  <a:cubicBezTo>
                    <a:pt x="91" y="226"/>
                    <a:pt x="73" y="244"/>
                    <a:pt x="51" y="244"/>
                  </a:cubicBezTo>
                  <a:cubicBezTo>
                    <a:pt x="28" y="244"/>
                    <a:pt x="10" y="226"/>
                    <a:pt x="10" y="203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0" y="28"/>
                    <a:pt x="28" y="10"/>
                    <a:pt x="51" y="10"/>
                  </a:cubicBezTo>
                  <a:moveTo>
                    <a:pt x="51" y="0"/>
                  </a:moveTo>
                  <a:cubicBezTo>
                    <a:pt x="23" y="0"/>
                    <a:pt x="0" y="23"/>
                    <a:pt x="0" y="51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231"/>
                    <a:pt x="23" y="254"/>
                    <a:pt x="51" y="254"/>
                  </a:cubicBezTo>
                  <a:cubicBezTo>
                    <a:pt x="79" y="254"/>
                    <a:pt x="102" y="231"/>
                    <a:pt x="102" y="203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23"/>
                    <a:pt x="79" y="0"/>
                    <a:pt x="5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5" name="Freeform 25"/>
            <p:cNvSpPr>
              <a:spLocks/>
            </p:cNvSpPr>
            <p:nvPr userDrawn="1"/>
          </p:nvSpPr>
          <p:spPr bwMode="auto">
            <a:xfrm>
              <a:off x="8008938" y="4449763"/>
              <a:ext cx="193675" cy="323850"/>
            </a:xfrm>
            <a:custGeom>
              <a:avLst/>
              <a:gdLst>
                <a:gd name="T0" fmla="*/ 31 w 61"/>
                <a:gd name="T1" fmla="*/ 102 h 102"/>
                <a:gd name="T2" fmla="*/ 31 w 61"/>
                <a:gd name="T3" fmla="*/ 102 h 102"/>
                <a:gd name="T4" fmla="*/ 0 w 61"/>
                <a:gd name="T5" fmla="*/ 72 h 102"/>
                <a:gd name="T6" fmla="*/ 0 w 61"/>
                <a:gd name="T7" fmla="*/ 31 h 102"/>
                <a:gd name="T8" fmla="*/ 31 w 61"/>
                <a:gd name="T9" fmla="*/ 0 h 102"/>
                <a:gd name="T10" fmla="*/ 61 w 61"/>
                <a:gd name="T11" fmla="*/ 31 h 102"/>
                <a:gd name="T12" fmla="*/ 61 w 61"/>
                <a:gd name="T13" fmla="*/ 72 h 102"/>
                <a:gd name="T14" fmla="*/ 31 w 61"/>
                <a:gd name="T15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" h="102">
                  <a:moveTo>
                    <a:pt x="31" y="102"/>
                  </a:moveTo>
                  <a:cubicBezTo>
                    <a:pt x="31" y="102"/>
                    <a:pt x="31" y="102"/>
                    <a:pt x="31" y="102"/>
                  </a:cubicBezTo>
                  <a:cubicBezTo>
                    <a:pt x="14" y="102"/>
                    <a:pt x="0" y="89"/>
                    <a:pt x="0" y="72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47" y="0"/>
                    <a:pt x="61" y="14"/>
                    <a:pt x="61" y="31"/>
                  </a:cubicBezTo>
                  <a:cubicBezTo>
                    <a:pt x="61" y="72"/>
                    <a:pt x="61" y="72"/>
                    <a:pt x="61" y="72"/>
                  </a:cubicBezTo>
                  <a:cubicBezTo>
                    <a:pt x="61" y="89"/>
                    <a:pt x="47" y="102"/>
                    <a:pt x="31" y="10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6" name="Freeform 26"/>
            <p:cNvSpPr>
              <a:spLocks noEditPoints="1"/>
            </p:cNvSpPr>
            <p:nvPr userDrawn="1"/>
          </p:nvSpPr>
          <p:spPr bwMode="auto">
            <a:xfrm>
              <a:off x="5616575" y="4449763"/>
              <a:ext cx="193675" cy="323850"/>
            </a:xfrm>
            <a:custGeom>
              <a:avLst/>
              <a:gdLst>
                <a:gd name="T0" fmla="*/ 30 w 61"/>
                <a:gd name="T1" fmla="*/ 11 h 102"/>
                <a:gd name="T2" fmla="*/ 51 w 61"/>
                <a:gd name="T3" fmla="*/ 31 h 102"/>
                <a:gd name="T4" fmla="*/ 51 w 61"/>
                <a:gd name="T5" fmla="*/ 72 h 102"/>
                <a:gd name="T6" fmla="*/ 30 w 61"/>
                <a:gd name="T7" fmla="*/ 92 h 102"/>
                <a:gd name="T8" fmla="*/ 10 w 61"/>
                <a:gd name="T9" fmla="*/ 72 h 102"/>
                <a:gd name="T10" fmla="*/ 10 w 61"/>
                <a:gd name="T11" fmla="*/ 31 h 102"/>
                <a:gd name="T12" fmla="*/ 30 w 61"/>
                <a:gd name="T13" fmla="*/ 11 h 102"/>
                <a:gd name="T14" fmla="*/ 30 w 61"/>
                <a:gd name="T15" fmla="*/ 0 h 102"/>
                <a:gd name="T16" fmla="*/ 0 w 61"/>
                <a:gd name="T17" fmla="*/ 31 h 102"/>
                <a:gd name="T18" fmla="*/ 0 w 61"/>
                <a:gd name="T19" fmla="*/ 72 h 102"/>
                <a:gd name="T20" fmla="*/ 30 w 61"/>
                <a:gd name="T21" fmla="*/ 102 h 102"/>
                <a:gd name="T22" fmla="*/ 61 w 61"/>
                <a:gd name="T23" fmla="*/ 72 h 102"/>
                <a:gd name="T24" fmla="*/ 61 w 61"/>
                <a:gd name="T25" fmla="*/ 31 h 102"/>
                <a:gd name="T26" fmla="*/ 30 w 61"/>
                <a:gd name="T27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102">
                  <a:moveTo>
                    <a:pt x="30" y="11"/>
                  </a:moveTo>
                  <a:cubicBezTo>
                    <a:pt x="42" y="11"/>
                    <a:pt x="51" y="20"/>
                    <a:pt x="51" y="31"/>
                  </a:cubicBezTo>
                  <a:cubicBezTo>
                    <a:pt x="51" y="72"/>
                    <a:pt x="51" y="72"/>
                    <a:pt x="51" y="72"/>
                  </a:cubicBezTo>
                  <a:cubicBezTo>
                    <a:pt x="51" y="83"/>
                    <a:pt x="42" y="92"/>
                    <a:pt x="30" y="92"/>
                  </a:cubicBezTo>
                  <a:cubicBezTo>
                    <a:pt x="19" y="92"/>
                    <a:pt x="10" y="83"/>
                    <a:pt x="10" y="72"/>
                  </a:cubicBezTo>
                  <a:cubicBezTo>
                    <a:pt x="10" y="31"/>
                    <a:pt x="10" y="31"/>
                    <a:pt x="10" y="31"/>
                  </a:cubicBezTo>
                  <a:cubicBezTo>
                    <a:pt x="10" y="20"/>
                    <a:pt x="19" y="11"/>
                    <a:pt x="30" y="11"/>
                  </a:cubicBezTo>
                  <a:moveTo>
                    <a:pt x="30" y="0"/>
                  </a:moveTo>
                  <a:cubicBezTo>
                    <a:pt x="14" y="0"/>
                    <a:pt x="0" y="14"/>
                    <a:pt x="0" y="31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89"/>
                    <a:pt x="14" y="102"/>
                    <a:pt x="30" y="102"/>
                  </a:cubicBezTo>
                  <a:cubicBezTo>
                    <a:pt x="47" y="102"/>
                    <a:pt x="61" y="89"/>
                    <a:pt x="61" y="72"/>
                  </a:cubicBezTo>
                  <a:cubicBezTo>
                    <a:pt x="61" y="31"/>
                    <a:pt x="61" y="31"/>
                    <a:pt x="61" y="31"/>
                  </a:cubicBezTo>
                  <a:cubicBezTo>
                    <a:pt x="61" y="14"/>
                    <a:pt x="47" y="0"/>
                    <a:pt x="3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7" name="Freeform 27"/>
            <p:cNvSpPr>
              <a:spLocks/>
            </p:cNvSpPr>
            <p:nvPr userDrawn="1"/>
          </p:nvSpPr>
          <p:spPr bwMode="auto">
            <a:xfrm>
              <a:off x="7558088" y="4433888"/>
              <a:ext cx="320675" cy="811213"/>
            </a:xfrm>
            <a:custGeom>
              <a:avLst/>
              <a:gdLst>
                <a:gd name="T0" fmla="*/ 50 w 101"/>
                <a:gd name="T1" fmla="*/ 255 h 255"/>
                <a:gd name="T2" fmla="*/ 50 w 101"/>
                <a:gd name="T3" fmla="*/ 255 h 255"/>
                <a:gd name="T4" fmla="*/ 0 w 101"/>
                <a:gd name="T5" fmla="*/ 204 h 255"/>
                <a:gd name="T6" fmla="*/ 0 w 101"/>
                <a:gd name="T7" fmla="*/ 51 h 255"/>
                <a:gd name="T8" fmla="*/ 50 w 101"/>
                <a:gd name="T9" fmla="*/ 0 h 255"/>
                <a:gd name="T10" fmla="*/ 101 w 101"/>
                <a:gd name="T11" fmla="*/ 51 h 255"/>
                <a:gd name="T12" fmla="*/ 101 w 101"/>
                <a:gd name="T13" fmla="*/ 204 h 255"/>
                <a:gd name="T14" fmla="*/ 50 w 101"/>
                <a:gd name="T15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" h="255">
                  <a:moveTo>
                    <a:pt x="50" y="255"/>
                  </a:moveTo>
                  <a:cubicBezTo>
                    <a:pt x="50" y="255"/>
                    <a:pt x="50" y="255"/>
                    <a:pt x="50" y="255"/>
                  </a:cubicBezTo>
                  <a:cubicBezTo>
                    <a:pt x="22" y="255"/>
                    <a:pt x="0" y="232"/>
                    <a:pt x="0" y="204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23"/>
                    <a:pt x="22" y="0"/>
                    <a:pt x="50" y="0"/>
                  </a:cubicBezTo>
                  <a:cubicBezTo>
                    <a:pt x="79" y="0"/>
                    <a:pt x="101" y="23"/>
                    <a:pt x="101" y="51"/>
                  </a:cubicBezTo>
                  <a:cubicBezTo>
                    <a:pt x="101" y="204"/>
                    <a:pt x="101" y="204"/>
                    <a:pt x="101" y="204"/>
                  </a:cubicBezTo>
                  <a:cubicBezTo>
                    <a:pt x="101" y="232"/>
                    <a:pt x="79" y="255"/>
                    <a:pt x="50" y="2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8" name="Freeform 28"/>
            <p:cNvSpPr>
              <a:spLocks/>
            </p:cNvSpPr>
            <p:nvPr userDrawn="1"/>
          </p:nvSpPr>
          <p:spPr bwMode="auto">
            <a:xfrm>
              <a:off x="6423025" y="3348038"/>
              <a:ext cx="406400" cy="1814513"/>
            </a:xfrm>
            <a:custGeom>
              <a:avLst/>
              <a:gdLst>
                <a:gd name="T0" fmla="*/ 64 w 128"/>
                <a:gd name="T1" fmla="*/ 570 h 570"/>
                <a:gd name="T2" fmla="*/ 64 w 128"/>
                <a:gd name="T3" fmla="*/ 570 h 570"/>
                <a:gd name="T4" fmla="*/ 0 w 128"/>
                <a:gd name="T5" fmla="*/ 507 h 570"/>
                <a:gd name="T6" fmla="*/ 0 w 128"/>
                <a:gd name="T7" fmla="*/ 64 h 570"/>
                <a:gd name="T8" fmla="*/ 64 w 128"/>
                <a:gd name="T9" fmla="*/ 0 h 570"/>
                <a:gd name="T10" fmla="*/ 128 w 128"/>
                <a:gd name="T11" fmla="*/ 64 h 570"/>
                <a:gd name="T12" fmla="*/ 128 w 128"/>
                <a:gd name="T13" fmla="*/ 507 h 570"/>
                <a:gd name="T14" fmla="*/ 64 w 128"/>
                <a:gd name="T15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" h="570">
                  <a:moveTo>
                    <a:pt x="64" y="570"/>
                  </a:moveTo>
                  <a:cubicBezTo>
                    <a:pt x="64" y="570"/>
                    <a:pt x="64" y="570"/>
                    <a:pt x="64" y="570"/>
                  </a:cubicBezTo>
                  <a:cubicBezTo>
                    <a:pt x="29" y="570"/>
                    <a:pt x="0" y="542"/>
                    <a:pt x="0" y="507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9"/>
                    <a:pt x="29" y="0"/>
                    <a:pt x="64" y="0"/>
                  </a:cubicBezTo>
                  <a:cubicBezTo>
                    <a:pt x="99" y="0"/>
                    <a:pt x="128" y="29"/>
                    <a:pt x="128" y="64"/>
                  </a:cubicBezTo>
                  <a:cubicBezTo>
                    <a:pt x="128" y="507"/>
                    <a:pt x="128" y="507"/>
                    <a:pt x="128" y="507"/>
                  </a:cubicBezTo>
                  <a:cubicBezTo>
                    <a:pt x="128" y="542"/>
                    <a:pt x="99" y="570"/>
                    <a:pt x="64" y="5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69" name="Freeform 29"/>
            <p:cNvSpPr>
              <a:spLocks/>
            </p:cNvSpPr>
            <p:nvPr userDrawn="1"/>
          </p:nvSpPr>
          <p:spPr bwMode="auto">
            <a:xfrm>
              <a:off x="6992938" y="4060825"/>
              <a:ext cx="403225" cy="1816100"/>
            </a:xfrm>
            <a:custGeom>
              <a:avLst/>
              <a:gdLst>
                <a:gd name="T0" fmla="*/ 63 w 127"/>
                <a:gd name="T1" fmla="*/ 570 h 570"/>
                <a:gd name="T2" fmla="*/ 63 w 127"/>
                <a:gd name="T3" fmla="*/ 570 h 570"/>
                <a:gd name="T4" fmla="*/ 0 w 127"/>
                <a:gd name="T5" fmla="*/ 507 h 570"/>
                <a:gd name="T6" fmla="*/ 0 w 127"/>
                <a:gd name="T7" fmla="*/ 64 h 570"/>
                <a:gd name="T8" fmla="*/ 63 w 127"/>
                <a:gd name="T9" fmla="*/ 0 h 570"/>
                <a:gd name="T10" fmla="*/ 127 w 127"/>
                <a:gd name="T11" fmla="*/ 64 h 570"/>
                <a:gd name="T12" fmla="*/ 127 w 127"/>
                <a:gd name="T13" fmla="*/ 507 h 570"/>
                <a:gd name="T14" fmla="*/ 63 w 127"/>
                <a:gd name="T15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570">
                  <a:moveTo>
                    <a:pt x="63" y="570"/>
                  </a:moveTo>
                  <a:cubicBezTo>
                    <a:pt x="63" y="570"/>
                    <a:pt x="63" y="570"/>
                    <a:pt x="63" y="570"/>
                  </a:cubicBezTo>
                  <a:cubicBezTo>
                    <a:pt x="28" y="570"/>
                    <a:pt x="0" y="542"/>
                    <a:pt x="0" y="507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9"/>
                    <a:pt x="28" y="0"/>
                    <a:pt x="63" y="0"/>
                  </a:cubicBezTo>
                  <a:cubicBezTo>
                    <a:pt x="98" y="0"/>
                    <a:pt x="127" y="29"/>
                    <a:pt x="127" y="64"/>
                  </a:cubicBezTo>
                  <a:cubicBezTo>
                    <a:pt x="127" y="507"/>
                    <a:pt x="127" y="507"/>
                    <a:pt x="127" y="507"/>
                  </a:cubicBezTo>
                  <a:cubicBezTo>
                    <a:pt x="127" y="542"/>
                    <a:pt x="98" y="570"/>
                    <a:pt x="63" y="5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70" name="Freeform 30"/>
            <p:cNvSpPr>
              <a:spLocks/>
            </p:cNvSpPr>
            <p:nvPr userDrawn="1"/>
          </p:nvSpPr>
          <p:spPr bwMode="auto">
            <a:xfrm>
              <a:off x="5438775" y="4627563"/>
              <a:ext cx="323850" cy="812800"/>
            </a:xfrm>
            <a:custGeom>
              <a:avLst/>
              <a:gdLst>
                <a:gd name="T0" fmla="*/ 51 w 102"/>
                <a:gd name="T1" fmla="*/ 255 h 255"/>
                <a:gd name="T2" fmla="*/ 51 w 102"/>
                <a:gd name="T3" fmla="*/ 255 h 255"/>
                <a:gd name="T4" fmla="*/ 0 w 102"/>
                <a:gd name="T5" fmla="*/ 204 h 255"/>
                <a:gd name="T6" fmla="*/ 0 w 102"/>
                <a:gd name="T7" fmla="*/ 51 h 255"/>
                <a:gd name="T8" fmla="*/ 51 w 102"/>
                <a:gd name="T9" fmla="*/ 0 h 255"/>
                <a:gd name="T10" fmla="*/ 102 w 102"/>
                <a:gd name="T11" fmla="*/ 51 h 255"/>
                <a:gd name="T12" fmla="*/ 102 w 102"/>
                <a:gd name="T13" fmla="*/ 204 h 255"/>
                <a:gd name="T14" fmla="*/ 51 w 102"/>
                <a:gd name="T15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2" h="255">
                  <a:moveTo>
                    <a:pt x="51" y="255"/>
                  </a:moveTo>
                  <a:cubicBezTo>
                    <a:pt x="51" y="255"/>
                    <a:pt x="51" y="255"/>
                    <a:pt x="51" y="255"/>
                  </a:cubicBezTo>
                  <a:cubicBezTo>
                    <a:pt x="23" y="255"/>
                    <a:pt x="0" y="232"/>
                    <a:pt x="0" y="204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23"/>
                    <a:pt x="23" y="0"/>
                    <a:pt x="51" y="0"/>
                  </a:cubicBezTo>
                  <a:cubicBezTo>
                    <a:pt x="79" y="0"/>
                    <a:pt x="102" y="23"/>
                    <a:pt x="102" y="51"/>
                  </a:cubicBezTo>
                  <a:cubicBezTo>
                    <a:pt x="102" y="204"/>
                    <a:pt x="102" y="204"/>
                    <a:pt x="102" y="204"/>
                  </a:cubicBezTo>
                  <a:cubicBezTo>
                    <a:pt x="102" y="232"/>
                    <a:pt x="79" y="255"/>
                    <a:pt x="51" y="2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71" name="Freeform 31"/>
            <p:cNvSpPr>
              <a:spLocks/>
            </p:cNvSpPr>
            <p:nvPr userDrawn="1"/>
          </p:nvSpPr>
          <p:spPr bwMode="auto">
            <a:xfrm>
              <a:off x="4872038" y="3981450"/>
              <a:ext cx="403225" cy="1814513"/>
            </a:xfrm>
            <a:custGeom>
              <a:avLst/>
              <a:gdLst>
                <a:gd name="T0" fmla="*/ 64 w 127"/>
                <a:gd name="T1" fmla="*/ 570 h 570"/>
                <a:gd name="T2" fmla="*/ 64 w 127"/>
                <a:gd name="T3" fmla="*/ 570 h 570"/>
                <a:gd name="T4" fmla="*/ 0 w 127"/>
                <a:gd name="T5" fmla="*/ 506 h 570"/>
                <a:gd name="T6" fmla="*/ 0 w 127"/>
                <a:gd name="T7" fmla="*/ 63 h 570"/>
                <a:gd name="T8" fmla="*/ 64 w 127"/>
                <a:gd name="T9" fmla="*/ 0 h 570"/>
                <a:gd name="T10" fmla="*/ 127 w 127"/>
                <a:gd name="T11" fmla="*/ 63 h 570"/>
                <a:gd name="T12" fmla="*/ 127 w 127"/>
                <a:gd name="T13" fmla="*/ 506 h 570"/>
                <a:gd name="T14" fmla="*/ 64 w 127"/>
                <a:gd name="T15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570">
                  <a:moveTo>
                    <a:pt x="64" y="570"/>
                  </a:moveTo>
                  <a:cubicBezTo>
                    <a:pt x="64" y="570"/>
                    <a:pt x="64" y="570"/>
                    <a:pt x="64" y="570"/>
                  </a:cubicBezTo>
                  <a:cubicBezTo>
                    <a:pt x="29" y="570"/>
                    <a:pt x="0" y="541"/>
                    <a:pt x="0" y="506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28"/>
                    <a:pt x="29" y="0"/>
                    <a:pt x="64" y="0"/>
                  </a:cubicBezTo>
                  <a:cubicBezTo>
                    <a:pt x="99" y="0"/>
                    <a:pt x="127" y="28"/>
                    <a:pt x="127" y="63"/>
                  </a:cubicBezTo>
                  <a:cubicBezTo>
                    <a:pt x="127" y="506"/>
                    <a:pt x="127" y="506"/>
                    <a:pt x="127" y="506"/>
                  </a:cubicBezTo>
                  <a:cubicBezTo>
                    <a:pt x="127" y="541"/>
                    <a:pt x="99" y="570"/>
                    <a:pt x="64" y="5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72" name="Freeform 32"/>
            <p:cNvSpPr>
              <a:spLocks/>
            </p:cNvSpPr>
            <p:nvPr userDrawn="1"/>
          </p:nvSpPr>
          <p:spPr bwMode="auto">
            <a:xfrm>
              <a:off x="0" y="4095750"/>
              <a:ext cx="152400" cy="809625"/>
            </a:xfrm>
            <a:custGeom>
              <a:avLst/>
              <a:gdLst>
                <a:gd name="T0" fmla="*/ 0 w 48"/>
                <a:gd name="T1" fmla="*/ 0 h 254"/>
                <a:gd name="T2" fmla="*/ 0 w 48"/>
                <a:gd name="T3" fmla="*/ 254 h 254"/>
                <a:gd name="T4" fmla="*/ 48 w 48"/>
                <a:gd name="T5" fmla="*/ 203 h 254"/>
                <a:gd name="T6" fmla="*/ 48 w 48"/>
                <a:gd name="T7" fmla="*/ 50 h 254"/>
                <a:gd name="T8" fmla="*/ 0 w 48"/>
                <a:gd name="T9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254">
                  <a:moveTo>
                    <a:pt x="0" y="0"/>
                  </a:moveTo>
                  <a:cubicBezTo>
                    <a:pt x="0" y="254"/>
                    <a:pt x="0" y="254"/>
                    <a:pt x="0" y="254"/>
                  </a:cubicBezTo>
                  <a:cubicBezTo>
                    <a:pt x="27" y="252"/>
                    <a:pt x="48" y="230"/>
                    <a:pt x="48" y="203"/>
                  </a:cubicBezTo>
                  <a:cubicBezTo>
                    <a:pt x="48" y="50"/>
                    <a:pt x="48" y="50"/>
                    <a:pt x="48" y="50"/>
                  </a:cubicBezTo>
                  <a:cubicBezTo>
                    <a:pt x="48" y="23"/>
                    <a:pt x="27" y="1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73" name="Freeform 33"/>
            <p:cNvSpPr>
              <a:spLocks/>
            </p:cNvSpPr>
            <p:nvPr userDrawn="1"/>
          </p:nvSpPr>
          <p:spPr bwMode="auto">
            <a:xfrm>
              <a:off x="12052300" y="4548188"/>
              <a:ext cx="152400" cy="809625"/>
            </a:xfrm>
            <a:custGeom>
              <a:avLst/>
              <a:gdLst>
                <a:gd name="T0" fmla="*/ 48 w 48"/>
                <a:gd name="T1" fmla="*/ 0 h 254"/>
                <a:gd name="T2" fmla="*/ 0 w 48"/>
                <a:gd name="T3" fmla="*/ 51 h 254"/>
                <a:gd name="T4" fmla="*/ 0 w 48"/>
                <a:gd name="T5" fmla="*/ 203 h 254"/>
                <a:gd name="T6" fmla="*/ 48 w 48"/>
                <a:gd name="T7" fmla="*/ 254 h 254"/>
                <a:gd name="T8" fmla="*/ 48 w 48"/>
                <a:gd name="T9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254">
                  <a:moveTo>
                    <a:pt x="48" y="0"/>
                  </a:moveTo>
                  <a:cubicBezTo>
                    <a:pt x="20" y="2"/>
                    <a:pt x="0" y="24"/>
                    <a:pt x="0" y="51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231"/>
                    <a:pt x="20" y="253"/>
                    <a:pt x="48" y="254"/>
                  </a:cubicBezTo>
                  <a:lnTo>
                    <a:pt x="4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</p:grpSp>
      <p:grpSp>
        <p:nvGrpSpPr>
          <p:cNvPr id="37" name="Logotype, static"/>
          <p:cNvGrpSpPr/>
          <p:nvPr userDrawn="1"/>
        </p:nvGrpSpPr>
        <p:grpSpPr>
          <a:xfrm>
            <a:off x="10689466" y="6389301"/>
            <a:ext cx="863687" cy="180102"/>
            <a:chOff x="9501453" y="6148765"/>
            <a:chExt cx="2047875" cy="427037"/>
          </a:xfrm>
          <a:solidFill>
            <a:schemeClr val="bg1"/>
          </a:solidFill>
        </p:grpSpPr>
        <p:sp>
          <p:nvSpPr>
            <p:cNvPr id="38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9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40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41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42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43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231905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Nordea Blue">
    <p:bg>
      <p:bgPr>
        <a:solidFill>
          <a:srgbClr val="0000A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1338262"/>
            <a:ext cx="5436000" cy="2472849"/>
          </a:xfrm>
        </p:spPr>
        <p:txBody>
          <a:bodyPr>
            <a:noAutofit/>
          </a:bodyPr>
          <a:lstStyle>
            <a:lvl1pPr>
              <a:defRPr sz="4000">
                <a:solidFill>
                  <a:srgbClr val="FBD9CA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4296176"/>
            <a:ext cx="5436000" cy="360083"/>
          </a:xfrm>
        </p:spPr>
        <p:txBody>
          <a:bodyPr>
            <a:noAutofit/>
          </a:bodyPr>
          <a:lstStyle>
            <a:lvl1pPr marL="0" indent="0" algn="l">
              <a:buNone/>
              <a:defRPr sz="1800" b="1">
                <a:solidFill>
                  <a:srgbClr val="FFFFFF"/>
                </a:solidFill>
                <a:latin typeface="+mj-lt"/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774548"/>
            <a:ext cx="5436000" cy="2160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rgbClr val="FFFFFF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5026548"/>
            <a:ext cx="5436000" cy="2160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rgbClr val="FFFFFF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grpSp>
        <p:nvGrpSpPr>
          <p:cNvPr id="17" name="Pulse"/>
          <p:cNvGrpSpPr/>
          <p:nvPr userDrawn="1"/>
        </p:nvGrpSpPr>
        <p:grpSpPr>
          <a:xfrm>
            <a:off x="6964846" y="941098"/>
            <a:ext cx="5232032" cy="5299513"/>
            <a:chOff x="8751888" y="3030538"/>
            <a:chExt cx="3446462" cy="3490913"/>
          </a:xfrm>
          <a:solidFill>
            <a:srgbClr val="0000FF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" name="Logotype">
            <a:extLst>
              <a:ext uri="{FF2B5EF4-FFF2-40B4-BE49-F238E27FC236}">
                <a16:creationId xmlns:a16="http://schemas.microsoft.com/office/drawing/2014/main" id="{5AEACD09-CC44-73F8-6ED2-850F1EDE1E32}"/>
              </a:ext>
            </a:extLst>
          </p:cNvPr>
          <p:cNvSpPr>
            <a:spLocks noChangeAspect="1"/>
          </p:cNvSpPr>
          <p:nvPr userDrawn="1"/>
        </p:nvSpPr>
        <p:spPr>
          <a:xfrm>
            <a:off x="641350" y="530890"/>
            <a:ext cx="1386000" cy="450119"/>
          </a:xfrm>
          <a:custGeom>
            <a:avLst/>
            <a:gdLst>
              <a:gd name="connsiteX0" fmla="*/ 720090 w 1296352"/>
              <a:gd name="connsiteY0" fmla="*/ 368618 h 421005"/>
              <a:gd name="connsiteX1" fmla="*/ 711518 w 1296352"/>
              <a:gd name="connsiteY1" fmla="*/ 392431 h 421005"/>
              <a:gd name="connsiteX2" fmla="*/ 710565 w 1296352"/>
              <a:gd name="connsiteY2" fmla="*/ 394336 h 421005"/>
              <a:gd name="connsiteX3" fmla="*/ 729615 w 1296352"/>
              <a:gd name="connsiteY3" fmla="*/ 394336 h 421005"/>
              <a:gd name="connsiteX4" fmla="*/ 728663 w 1296352"/>
              <a:gd name="connsiteY4" fmla="*/ 392431 h 421005"/>
              <a:gd name="connsiteX5" fmla="*/ 720090 w 1296352"/>
              <a:gd name="connsiteY5" fmla="*/ 368618 h 421005"/>
              <a:gd name="connsiteX6" fmla="*/ 565785 w 1296352"/>
              <a:gd name="connsiteY6" fmla="*/ 368618 h 421005"/>
              <a:gd name="connsiteX7" fmla="*/ 557213 w 1296352"/>
              <a:gd name="connsiteY7" fmla="*/ 392431 h 421005"/>
              <a:gd name="connsiteX8" fmla="*/ 556260 w 1296352"/>
              <a:gd name="connsiteY8" fmla="*/ 394336 h 421005"/>
              <a:gd name="connsiteX9" fmla="*/ 575310 w 1296352"/>
              <a:gd name="connsiteY9" fmla="*/ 394336 h 421005"/>
              <a:gd name="connsiteX10" fmla="*/ 574357 w 1296352"/>
              <a:gd name="connsiteY10" fmla="*/ 392431 h 421005"/>
              <a:gd name="connsiteX11" fmla="*/ 565785 w 1296352"/>
              <a:gd name="connsiteY11" fmla="*/ 368618 h 421005"/>
              <a:gd name="connsiteX12" fmla="*/ 100012 w 1296352"/>
              <a:gd name="connsiteY12" fmla="*/ 368618 h 421005"/>
              <a:gd name="connsiteX13" fmla="*/ 91440 w 1296352"/>
              <a:gd name="connsiteY13" fmla="*/ 392431 h 421005"/>
              <a:gd name="connsiteX14" fmla="*/ 90487 w 1296352"/>
              <a:gd name="connsiteY14" fmla="*/ 394336 h 421005"/>
              <a:gd name="connsiteX15" fmla="*/ 109537 w 1296352"/>
              <a:gd name="connsiteY15" fmla="*/ 394336 h 421005"/>
              <a:gd name="connsiteX16" fmla="*/ 108585 w 1296352"/>
              <a:gd name="connsiteY16" fmla="*/ 392431 h 421005"/>
              <a:gd name="connsiteX17" fmla="*/ 100012 w 1296352"/>
              <a:gd name="connsiteY17" fmla="*/ 368618 h 421005"/>
              <a:gd name="connsiteX18" fmla="*/ 915353 w 1296352"/>
              <a:gd name="connsiteY18" fmla="*/ 356236 h 421005"/>
              <a:gd name="connsiteX19" fmla="*/ 933451 w 1296352"/>
              <a:gd name="connsiteY19" fmla="*/ 356236 h 421005"/>
              <a:gd name="connsiteX20" fmla="*/ 942976 w 1296352"/>
              <a:gd name="connsiteY20" fmla="*/ 381953 h 421005"/>
              <a:gd name="connsiteX21" fmla="*/ 950596 w 1296352"/>
              <a:gd name="connsiteY21" fmla="*/ 401956 h 421005"/>
              <a:gd name="connsiteX22" fmla="*/ 958215 w 1296352"/>
              <a:gd name="connsiteY22" fmla="*/ 381953 h 421005"/>
              <a:gd name="connsiteX23" fmla="*/ 967740 w 1296352"/>
              <a:gd name="connsiteY23" fmla="*/ 356236 h 421005"/>
              <a:gd name="connsiteX24" fmla="*/ 986790 w 1296352"/>
              <a:gd name="connsiteY24" fmla="*/ 356236 h 421005"/>
              <a:gd name="connsiteX25" fmla="*/ 986790 w 1296352"/>
              <a:gd name="connsiteY25" fmla="*/ 419101 h 421005"/>
              <a:gd name="connsiteX26" fmla="*/ 973455 w 1296352"/>
              <a:gd name="connsiteY26" fmla="*/ 419101 h 421005"/>
              <a:gd name="connsiteX27" fmla="*/ 973455 w 1296352"/>
              <a:gd name="connsiteY27" fmla="*/ 396241 h 421005"/>
              <a:gd name="connsiteX28" fmla="*/ 973455 w 1296352"/>
              <a:gd name="connsiteY28" fmla="*/ 370523 h 421005"/>
              <a:gd name="connsiteX29" fmla="*/ 963930 w 1296352"/>
              <a:gd name="connsiteY29" fmla="*/ 396241 h 421005"/>
              <a:gd name="connsiteX30" fmla="*/ 955358 w 1296352"/>
              <a:gd name="connsiteY30" fmla="*/ 419101 h 421005"/>
              <a:gd name="connsiteX31" fmla="*/ 945833 w 1296352"/>
              <a:gd name="connsiteY31" fmla="*/ 419101 h 421005"/>
              <a:gd name="connsiteX32" fmla="*/ 937260 w 1296352"/>
              <a:gd name="connsiteY32" fmla="*/ 396241 h 421005"/>
              <a:gd name="connsiteX33" fmla="*/ 927735 w 1296352"/>
              <a:gd name="connsiteY33" fmla="*/ 371476 h 421005"/>
              <a:gd name="connsiteX34" fmla="*/ 927735 w 1296352"/>
              <a:gd name="connsiteY34" fmla="*/ 397193 h 421005"/>
              <a:gd name="connsiteX35" fmla="*/ 927735 w 1296352"/>
              <a:gd name="connsiteY35" fmla="*/ 420053 h 421005"/>
              <a:gd name="connsiteX36" fmla="*/ 915353 w 1296352"/>
              <a:gd name="connsiteY36" fmla="*/ 420053 h 421005"/>
              <a:gd name="connsiteX37" fmla="*/ 445770 w 1296352"/>
              <a:gd name="connsiteY37" fmla="*/ 356236 h 421005"/>
              <a:gd name="connsiteX38" fmla="*/ 463868 w 1296352"/>
              <a:gd name="connsiteY38" fmla="*/ 356236 h 421005"/>
              <a:gd name="connsiteX39" fmla="*/ 473393 w 1296352"/>
              <a:gd name="connsiteY39" fmla="*/ 381953 h 421005"/>
              <a:gd name="connsiteX40" fmla="*/ 481013 w 1296352"/>
              <a:gd name="connsiteY40" fmla="*/ 401956 h 421005"/>
              <a:gd name="connsiteX41" fmla="*/ 488633 w 1296352"/>
              <a:gd name="connsiteY41" fmla="*/ 381953 h 421005"/>
              <a:gd name="connsiteX42" fmla="*/ 498158 w 1296352"/>
              <a:gd name="connsiteY42" fmla="*/ 356236 h 421005"/>
              <a:gd name="connsiteX43" fmla="*/ 516255 w 1296352"/>
              <a:gd name="connsiteY43" fmla="*/ 356236 h 421005"/>
              <a:gd name="connsiteX44" fmla="*/ 516255 w 1296352"/>
              <a:gd name="connsiteY44" fmla="*/ 419101 h 421005"/>
              <a:gd name="connsiteX45" fmla="*/ 502920 w 1296352"/>
              <a:gd name="connsiteY45" fmla="*/ 419101 h 421005"/>
              <a:gd name="connsiteX46" fmla="*/ 502920 w 1296352"/>
              <a:gd name="connsiteY46" fmla="*/ 396241 h 421005"/>
              <a:gd name="connsiteX47" fmla="*/ 502920 w 1296352"/>
              <a:gd name="connsiteY47" fmla="*/ 370523 h 421005"/>
              <a:gd name="connsiteX48" fmla="*/ 493395 w 1296352"/>
              <a:gd name="connsiteY48" fmla="*/ 396241 h 421005"/>
              <a:gd name="connsiteX49" fmla="*/ 484822 w 1296352"/>
              <a:gd name="connsiteY49" fmla="*/ 419101 h 421005"/>
              <a:gd name="connsiteX50" fmla="*/ 475297 w 1296352"/>
              <a:gd name="connsiteY50" fmla="*/ 419101 h 421005"/>
              <a:gd name="connsiteX51" fmla="*/ 467678 w 1296352"/>
              <a:gd name="connsiteY51" fmla="*/ 396241 h 421005"/>
              <a:gd name="connsiteX52" fmla="*/ 458153 w 1296352"/>
              <a:gd name="connsiteY52" fmla="*/ 371476 h 421005"/>
              <a:gd name="connsiteX53" fmla="*/ 458153 w 1296352"/>
              <a:gd name="connsiteY53" fmla="*/ 397193 h 421005"/>
              <a:gd name="connsiteX54" fmla="*/ 458153 w 1296352"/>
              <a:gd name="connsiteY54" fmla="*/ 420053 h 421005"/>
              <a:gd name="connsiteX55" fmla="*/ 445770 w 1296352"/>
              <a:gd name="connsiteY55" fmla="*/ 420053 h 421005"/>
              <a:gd name="connsiteX56" fmla="*/ 1158240 w 1296352"/>
              <a:gd name="connsiteY56" fmla="*/ 355283 h 421005"/>
              <a:gd name="connsiteX57" fmla="*/ 1208723 w 1296352"/>
              <a:gd name="connsiteY57" fmla="*/ 355283 h 421005"/>
              <a:gd name="connsiteX58" fmla="*/ 1208723 w 1296352"/>
              <a:gd name="connsiteY58" fmla="*/ 366713 h 421005"/>
              <a:gd name="connsiteX59" fmla="*/ 1189673 w 1296352"/>
              <a:gd name="connsiteY59" fmla="*/ 366713 h 421005"/>
              <a:gd name="connsiteX60" fmla="*/ 1189673 w 1296352"/>
              <a:gd name="connsiteY60" fmla="*/ 419101 h 421005"/>
              <a:gd name="connsiteX61" fmla="*/ 1176338 w 1296352"/>
              <a:gd name="connsiteY61" fmla="*/ 419101 h 421005"/>
              <a:gd name="connsiteX62" fmla="*/ 1176338 w 1296352"/>
              <a:gd name="connsiteY62" fmla="*/ 366713 h 421005"/>
              <a:gd name="connsiteX63" fmla="*/ 1158240 w 1296352"/>
              <a:gd name="connsiteY63" fmla="*/ 366713 h 421005"/>
              <a:gd name="connsiteX64" fmla="*/ 1084897 w 1296352"/>
              <a:gd name="connsiteY64" fmla="*/ 355283 h 421005"/>
              <a:gd name="connsiteX65" fmla="*/ 1099185 w 1296352"/>
              <a:gd name="connsiteY65" fmla="*/ 355283 h 421005"/>
              <a:gd name="connsiteX66" fmla="*/ 1113472 w 1296352"/>
              <a:gd name="connsiteY66" fmla="*/ 377191 h 421005"/>
              <a:gd name="connsiteX67" fmla="*/ 1125855 w 1296352"/>
              <a:gd name="connsiteY67" fmla="*/ 397193 h 421005"/>
              <a:gd name="connsiteX68" fmla="*/ 1125855 w 1296352"/>
              <a:gd name="connsiteY68" fmla="*/ 355283 h 421005"/>
              <a:gd name="connsiteX69" fmla="*/ 1138237 w 1296352"/>
              <a:gd name="connsiteY69" fmla="*/ 355283 h 421005"/>
              <a:gd name="connsiteX70" fmla="*/ 1138237 w 1296352"/>
              <a:gd name="connsiteY70" fmla="*/ 419101 h 421005"/>
              <a:gd name="connsiteX71" fmla="*/ 1126807 w 1296352"/>
              <a:gd name="connsiteY71" fmla="*/ 419101 h 421005"/>
              <a:gd name="connsiteX72" fmla="*/ 1111567 w 1296352"/>
              <a:gd name="connsiteY72" fmla="*/ 395288 h 421005"/>
              <a:gd name="connsiteX73" fmla="*/ 1097280 w 1296352"/>
              <a:gd name="connsiteY73" fmla="*/ 373381 h 421005"/>
              <a:gd name="connsiteX74" fmla="*/ 1097280 w 1296352"/>
              <a:gd name="connsiteY74" fmla="*/ 419101 h 421005"/>
              <a:gd name="connsiteX75" fmla="*/ 1084897 w 1296352"/>
              <a:gd name="connsiteY75" fmla="*/ 419101 h 421005"/>
              <a:gd name="connsiteX76" fmla="*/ 1013460 w 1296352"/>
              <a:gd name="connsiteY76" fmla="*/ 355283 h 421005"/>
              <a:gd name="connsiteX77" fmla="*/ 1057275 w 1296352"/>
              <a:gd name="connsiteY77" fmla="*/ 355283 h 421005"/>
              <a:gd name="connsiteX78" fmla="*/ 1057275 w 1296352"/>
              <a:gd name="connsiteY78" fmla="*/ 366713 h 421005"/>
              <a:gd name="connsiteX79" fmla="*/ 1026795 w 1296352"/>
              <a:gd name="connsiteY79" fmla="*/ 366713 h 421005"/>
              <a:gd name="connsiteX80" fmla="*/ 1026795 w 1296352"/>
              <a:gd name="connsiteY80" fmla="*/ 381001 h 421005"/>
              <a:gd name="connsiteX81" fmla="*/ 1054418 w 1296352"/>
              <a:gd name="connsiteY81" fmla="*/ 381001 h 421005"/>
              <a:gd name="connsiteX82" fmla="*/ 1054418 w 1296352"/>
              <a:gd name="connsiteY82" fmla="*/ 392431 h 421005"/>
              <a:gd name="connsiteX83" fmla="*/ 1026795 w 1296352"/>
              <a:gd name="connsiteY83" fmla="*/ 392431 h 421005"/>
              <a:gd name="connsiteX84" fmla="*/ 1026795 w 1296352"/>
              <a:gd name="connsiteY84" fmla="*/ 407671 h 421005"/>
              <a:gd name="connsiteX85" fmla="*/ 1058227 w 1296352"/>
              <a:gd name="connsiteY85" fmla="*/ 407671 h 421005"/>
              <a:gd name="connsiteX86" fmla="*/ 1058227 w 1296352"/>
              <a:gd name="connsiteY86" fmla="*/ 419101 h 421005"/>
              <a:gd name="connsiteX87" fmla="*/ 1013460 w 1296352"/>
              <a:gd name="connsiteY87" fmla="*/ 419101 h 421005"/>
              <a:gd name="connsiteX88" fmla="*/ 845820 w 1296352"/>
              <a:gd name="connsiteY88" fmla="*/ 355283 h 421005"/>
              <a:gd name="connsiteX89" fmla="*/ 889635 w 1296352"/>
              <a:gd name="connsiteY89" fmla="*/ 355283 h 421005"/>
              <a:gd name="connsiteX90" fmla="*/ 889635 w 1296352"/>
              <a:gd name="connsiteY90" fmla="*/ 366713 h 421005"/>
              <a:gd name="connsiteX91" fmla="*/ 859155 w 1296352"/>
              <a:gd name="connsiteY91" fmla="*/ 366713 h 421005"/>
              <a:gd name="connsiteX92" fmla="*/ 859155 w 1296352"/>
              <a:gd name="connsiteY92" fmla="*/ 381001 h 421005"/>
              <a:gd name="connsiteX93" fmla="*/ 886778 w 1296352"/>
              <a:gd name="connsiteY93" fmla="*/ 381001 h 421005"/>
              <a:gd name="connsiteX94" fmla="*/ 886778 w 1296352"/>
              <a:gd name="connsiteY94" fmla="*/ 392431 h 421005"/>
              <a:gd name="connsiteX95" fmla="*/ 859155 w 1296352"/>
              <a:gd name="connsiteY95" fmla="*/ 392431 h 421005"/>
              <a:gd name="connsiteX96" fmla="*/ 859155 w 1296352"/>
              <a:gd name="connsiteY96" fmla="*/ 407671 h 421005"/>
              <a:gd name="connsiteX97" fmla="*/ 890588 w 1296352"/>
              <a:gd name="connsiteY97" fmla="*/ 407671 h 421005"/>
              <a:gd name="connsiteX98" fmla="*/ 890588 w 1296352"/>
              <a:gd name="connsiteY98" fmla="*/ 419101 h 421005"/>
              <a:gd name="connsiteX99" fmla="*/ 845820 w 1296352"/>
              <a:gd name="connsiteY99" fmla="*/ 419101 h 421005"/>
              <a:gd name="connsiteX100" fmla="*/ 713423 w 1296352"/>
              <a:gd name="connsiteY100" fmla="*/ 355283 h 421005"/>
              <a:gd name="connsiteX101" fmla="*/ 729615 w 1296352"/>
              <a:gd name="connsiteY101" fmla="*/ 355283 h 421005"/>
              <a:gd name="connsiteX102" fmla="*/ 753428 w 1296352"/>
              <a:gd name="connsiteY102" fmla="*/ 419101 h 421005"/>
              <a:gd name="connsiteX103" fmla="*/ 739140 w 1296352"/>
              <a:gd name="connsiteY103" fmla="*/ 419101 h 421005"/>
              <a:gd name="connsiteX104" fmla="*/ 734378 w 1296352"/>
              <a:gd name="connsiteY104" fmla="*/ 405766 h 421005"/>
              <a:gd name="connsiteX105" fmla="*/ 707708 w 1296352"/>
              <a:gd name="connsiteY105" fmla="*/ 405766 h 421005"/>
              <a:gd name="connsiteX106" fmla="*/ 702945 w 1296352"/>
              <a:gd name="connsiteY106" fmla="*/ 419101 h 421005"/>
              <a:gd name="connsiteX107" fmla="*/ 689610 w 1296352"/>
              <a:gd name="connsiteY107" fmla="*/ 419101 h 421005"/>
              <a:gd name="connsiteX108" fmla="*/ 617220 w 1296352"/>
              <a:gd name="connsiteY108" fmla="*/ 355283 h 421005"/>
              <a:gd name="connsiteX109" fmla="*/ 631508 w 1296352"/>
              <a:gd name="connsiteY109" fmla="*/ 355283 h 421005"/>
              <a:gd name="connsiteX110" fmla="*/ 645795 w 1296352"/>
              <a:gd name="connsiteY110" fmla="*/ 377191 h 421005"/>
              <a:gd name="connsiteX111" fmla="*/ 658178 w 1296352"/>
              <a:gd name="connsiteY111" fmla="*/ 397193 h 421005"/>
              <a:gd name="connsiteX112" fmla="*/ 658178 w 1296352"/>
              <a:gd name="connsiteY112" fmla="*/ 355283 h 421005"/>
              <a:gd name="connsiteX113" fmla="*/ 670560 w 1296352"/>
              <a:gd name="connsiteY113" fmla="*/ 355283 h 421005"/>
              <a:gd name="connsiteX114" fmla="*/ 670560 w 1296352"/>
              <a:gd name="connsiteY114" fmla="*/ 419101 h 421005"/>
              <a:gd name="connsiteX115" fmla="*/ 659130 w 1296352"/>
              <a:gd name="connsiteY115" fmla="*/ 419101 h 421005"/>
              <a:gd name="connsiteX116" fmla="*/ 643890 w 1296352"/>
              <a:gd name="connsiteY116" fmla="*/ 395288 h 421005"/>
              <a:gd name="connsiteX117" fmla="*/ 629603 w 1296352"/>
              <a:gd name="connsiteY117" fmla="*/ 373381 h 421005"/>
              <a:gd name="connsiteX118" fmla="*/ 629603 w 1296352"/>
              <a:gd name="connsiteY118" fmla="*/ 419101 h 421005"/>
              <a:gd name="connsiteX119" fmla="*/ 617220 w 1296352"/>
              <a:gd name="connsiteY119" fmla="*/ 419101 h 421005"/>
              <a:gd name="connsiteX120" fmla="*/ 559118 w 1296352"/>
              <a:gd name="connsiteY120" fmla="*/ 355283 h 421005"/>
              <a:gd name="connsiteX121" fmla="*/ 575310 w 1296352"/>
              <a:gd name="connsiteY121" fmla="*/ 355283 h 421005"/>
              <a:gd name="connsiteX122" fmla="*/ 599122 w 1296352"/>
              <a:gd name="connsiteY122" fmla="*/ 419101 h 421005"/>
              <a:gd name="connsiteX123" fmla="*/ 584835 w 1296352"/>
              <a:gd name="connsiteY123" fmla="*/ 419101 h 421005"/>
              <a:gd name="connsiteX124" fmla="*/ 580072 w 1296352"/>
              <a:gd name="connsiteY124" fmla="*/ 405766 h 421005"/>
              <a:gd name="connsiteX125" fmla="*/ 553403 w 1296352"/>
              <a:gd name="connsiteY125" fmla="*/ 405766 h 421005"/>
              <a:gd name="connsiteX126" fmla="*/ 548640 w 1296352"/>
              <a:gd name="connsiteY126" fmla="*/ 419101 h 421005"/>
              <a:gd name="connsiteX127" fmla="*/ 535305 w 1296352"/>
              <a:gd name="connsiteY127" fmla="*/ 419101 h 421005"/>
              <a:gd name="connsiteX128" fmla="*/ 338137 w 1296352"/>
              <a:gd name="connsiteY128" fmla="*/ 355283 h 421005"/>
              <a:gd name="connsiteX129" fmla="*/ 388619 w 1296352"/>
              <a:gd name="connsiteY129" fmla="*/ 355283 h 421005"/>
              <a:gd name="connsiteX130" fmla="*/ 388619 w 1296352"/>
              <a:gd name="connsiteY130" fmla="*/ 366713 h 421005"/>
              <a:gd name="connsiteX131" fmla="*/ 369569 w 1296352"/>
              <a:gd name="connsiteY131" fmla="*/ 366713 h 421005"/>
              <a:gd name="connsiteX132" fmla="*/ 369569 w 1296352"/>
              <a:gd name="connsiteY132" fmla="*/ 419101 h 421005"/>
              <a:gd name="connsiteX133" fmla="*/ 356234 w 1296352"/>
              <a:gd name="connsiteY133" fmla="*/ 419101 h 421005"/>
              <a:gd name="connsiteX134" fmla="*/ 356234 w 1296352"/>
              <a:gd name="connsiteY134" fmla="*/ 366713 h 421005"/>
              <a:gd name="connsiteX135" fmla="*/ 338137 w 1296352"/>
              <a:gd name="connsiteY135" fmla="*/ 366713 h 421005"/>
              <a:gd name="connsiteX136" fmla="*/ 274320 w 1296352"/>
              <a:gd name="connsiteY136" fmla="*/ 355283 h 421005"/>
              <a:gd name="connsiteX137" fmla="*/ 318135 w 1296352"/>
              <a:gd name="connsiteY137" fmla="*/ 355283 h 421005"/>
              <a:gd name="connsiteX138" fmla="*/ 318135 w 1296352"/>
              <a:gd name="connsiteY138" fmla="*/ 366713 h 421005"/>
              <a:gd name="connsiteX139" fmla="*/ 287655 w 1296352"/>
              <a:gd name="connsiteY139" fmla="*/ 366713 h 421005"/>
              <a:gd name="connsiteX140" fmla="*/ 287655 w 1296352"/>
              <a:gd name="connsiteY140" fmla="*/ 381001 h 421005"/>
              <a:gd name="connsiteX141" fmla="*/ 315278 w 1296352"/>
              <a:gd name="connsiteY141" fmla="*/ 381001 h 421005"/>
              <a:gd name="connsiteX142" fmla="*/ 315278 w 1296352"/>
              <a:gd name="connsiteY142" fmla="*/ 392431 h 421005"/>
              <a:gd name="connsiteX143" fmla="*/ 287655 w 1296352"/>
              <a:gd name="connsiteY143" fmla="*/ 392431 h 421005"/>
              <a:gd name="connsiteX144" fmla="*/ 287655 w 1296352"/>
              <a:gd name="connsiteY144" fmla="*/ 407671 h 421005"/>
              <a:gd name="connsiteX145" fmla="*/ 319088 w 1296352"/>
              <a:gd name="connsiteY145" fmla="*/ 407671 h 421005"/>
              <a:gd name="connsiteX146" fmla="*/ 319088 w 1296352"/>
              <a:gd name="connsiteY146" fmla="*/ 419101 h 421005"/>
              <a:gd name="connsiteX147" fmla="*/ 274320 w 1296352"/>
              <a:gd name="connsiteY147" fmla="*/ 419101 h 421005"/>
              <a:gd name="connsiteX148" fmla="*/ 92393 w 1296352"/>
              <a:gd name="connsiteY148" fmla="*/ 355283 h 421005"/>
              <a:gd name="connsiteX149" fmla="*/ 108585 w 1296352"/>
              <a:gd name="connsiteY149" fmla="*/ 355283 h 421005"/>
              <a:gd name="connsiteX150" fmla="*/ 132398 w 1296352"/>
              <a:gd name="connsiteY150" fmla="*/ 419101 h 421005"/>
              <a:gd name="connsiteX151" fmla="*/ 118110 w 1296352"/>
              <a:gd name="connsiteY151" fmla="*/ 419101 h 421005"/>
              <a:gd name="connsiteX152" fmla="*/ 113348 w 1296352"/>
              <a:gd name="connsiteY152" fmla="*/ 405766 h 421005"/>
              <a:gd name="connsiteX153" fmla="*/ 86678 w 1296352"/>
              <a:gd name="connsiteY153" fmla="*/ 405766 h 421005"/>
              <a:gd name="connsiteX154" fmla="*/ 81915 w 1296352"/>
              <a:gd name="connsiteY154" fmla="*/ 419101 h 421005"/>
              <a:gd name="connsiteX155" fmla="*/ 68580 w 1296352"/>
              <a:gd name="connsiteY155" fmla="*/ 419101 h 421005"/>
              <a:gd name="connsiteX156" fmla="*/ 797242 w 1296352"/>
              <a:gd name="connsiteY156" fmla="*/ 354330 h 421005"/>
              <a:gd name="connsiteX157" fmla="*/ 818197 w 1296352"/>
              <a:gd name="connsiteY157" fmla="*/ 360998 h 421005"/>
              <a:gd name="connsiteX158" fmla="*/ 810577 w 1296352"/>
              <a:gd name="connsiteY158" fmla="*/ 370523 h 421005"/>
              <a:gd name="connsiteX159" fmla="*/ 796290 w 1296352"/>
              <a:gd name="connsiteY159" fmla="*/ 365760 h 421005"/>
              <a:gd name="connsiteX160" fmla="*/ 778192 w 1296352"/>
              <a:gd name="connsiteY160" fmla="*/ 386715 h 421005"/>
              <a:gd name="connsiteX161" fmla="*/ 796290 w 1296352"/>
              <a:gd name="connsiteY161" fmla="*/ 408623 h 421005"/>
              <a:gd name="connsiteX162" fmla="*/ 806767 w 1296352"/>
              <a:gd name="connsiteY162" fmla="*/ 405765 h 421005"/>
              <a:gd name="connsiteX163" fmla="*/ 806767 w 1296352"/>
              <a:gd name="connsiteY163" fmla="*/ 393382 h 421005"/>
              <a:gd name="connsiteX164" fmla="*/ 792480 w 1296352"/>
              <a:gd name="connsiteY164" fmla="*/ 393382 h 421005"/>
              <a:gd name="connsiteX165" fmla="*/ 792480 w 1296352"/>
              <a:gd name="connsiteY165" fmla="*/ 381953 h 421005"/>
              <a:gd name="connsiteX166" fmla="*/ 820102 w 1296352"/>
              <a:gd name="connsiteY166" fmla="*/ 381953 h 421005"/>
              <a:gd name="connsiteX167" fmla="*/ 820102 w 1296352"/>
              <a:gd name="connsiteY167" fmla="*/ 382905 h 421005"/>
              <a:gd name="connsiteX168" fmla="*/ 820102 w 1296352"/>
              <a:gd name="connsiteY168" fmla="*/ 411480 h 421005"/>
              <a:gd name="connsiteX169" fmla="*/ 796290 w 1296352"/>
              <a:gd name="connsiteY169" fmla="*/ 421005 h 421005"/>
              <a:gd name="connsiteX170" fmla="*/ 764857 w 1296352"/>
              <a:gd name="connsiteY170" fmla="*/ 387668 h 421005"/>
              <a:gd name="connsiteX171" fmla="*/ 797242 w 1296352"/>
              <a:gd name="connsiteY171" fmla="*/ 354330 h 421005"/>
              <a:gd name="connsiteX172" fmla="*/ 232411 w 1296352"/>
              <a:gd name="connsiteY172" fmla="*/ 354330 h 421005"/>
              <a:gd name="connsiteX173" fmla="*/ 253366 w 1296352"/>
              <a:gd name="connsiteY173" fmla="*/ 360998 h 421005"/>
              <a:gd name="connsiteX174" fmla="*/ 246698 w 1296352"/>
              <a:gd name="connsiteY174" fmla="*/ 370523 h 421005"/>
              <a:gd name="connsiteX175" fmla="*/ 231458 w 1296352"/>
              <a:gd name="connsiteY175" fmla="*/ 365760 h 421005"/>
              <a:gd name="connsiteX176" fmla="*/ 220981 w 1296352"/>
              <a:gd name="connsiteY176" fmla="*/ 372428 h 421005"/>
              <a:gd name="connsiteX177" fmla="*/ 234316 w 1296352"/>
              <a:gd name="connsiteY177" fmla="*/ 381000 h 421005"/>
              <a:gd name="connsiteX178" fmla="*/ 254318 w 1296352"/>
              <a:gd name="connsiteY178" fmla="*/ 400050 h 421005"/>
              <a:gd name="connsiteX179" fmla="*/ 230506 w 1296352"/>
              <a:gd name="connsiteY179" fmla="*/ 420053 h 421005"/>
              <a:gd name="connsiteX180" fmla="*/ 206693 w 1296352"/>
              <a:gd name="connsiteY180" fmla="*/ 411480 h 421005"/>
              <a:gd name="connsiteX181" fmla="*/ 213361 w 1296352"/>
              <a:gd name="connsiteY181" fmla="*/ 401955 h 421005"/>
              <a:gd name="connsiteX182" fmla="*/ 231458 w 1296352"/>
              <a:gd name="connsiteY182" fmla="*/ 408623 h 421005"/>
              <a:gd name="connsiteX183" fmla="*/ 241936 w 1296352"/>
              <a:gd name="connsiteY183" fmla="*/ 401003 h 421005"/>
              <a:gd name="connsiteX184" fmla="*/ 229553 w 1296352"/>
              <a:gd name="connsiteY184" fmla="*/ 392430 h 421005"/>
              <a:gd name="connsiteX185" fmla="*/ 208598 w 1296352"/>
              <a:gd name="connsiteY185" fmla="*/ 373380 h 421005"/>
              <a:gd name="connsiteX186" fmla="*/ 232411 w 1296352"/>
              <a:gd name="connsiteY186" fmla="*/ 354330 h 421005"/>
              <a:gd name="connsiteX187" fmla="*/ 169545 w 1296352"/>
              <a:gd name="connsiteY187" fmla="*/ 354330 h 421005"/>
              <a:gd name="connsiteX188" fmla="*/ 190500 w 1296352"/>
              <a:gd name="connsiteY188" fmla="*/ 360998 h 421005"/>
              <a:gd name="connsiteX189" fmla="*/ 183833 w 1296352"/>
              <a:gd name="connsiteY189" fmla="*/ 370523 h 421005"/>
              <a:gd name="connsiteX190" fmla="*/ 168593 w 1296352"/>
              <a:gd name="connsiteY190" fmla="*/ 365760 h 421005"/>
              <a:gd name="connsiteX191" fmla="*/ 158116 w 1296352"/>
              <a:gd name="connsiteY191" fmla="*/ 372428 h 421005"/>
              <a:gd name="connsiteX192" fmla="*/ 171450 w 1296352"/>
              <a:gd name="connsiteY192" fmla="*/ 381000 h 421005"/>
              <a:gd name="connsiteX193" fmla="*/ 191453 w 1296352"/>
              <a:gd name="connsiteY193" fmla="*/ 400050 h 421005"/>
              <a:gd name="connsiteX194" fmla="*/ 167641 w 1296352"/>
              <a:gd name="connsiteY194" fmla="*/ 420053 h 421005"/>
              <a:gd name="connsiteX195" fmla="*/ 143828 w 1296352"/>
              <a:gd name="connsiteY195" fmla="*/ 411480 h 421005"/>
              <a:gd name="connsiteX196" fmla="*/ 150495 w 1296352"/>
              <a:gd name="connsiteY196" fmla="*/ 401955 h 421005"/>
              <a:gd name="connsiteX197" fmla="*/ 168593 w 1296352"/>
              <a:gd name="connsiteY197" fmla="*/ 408623 h 421005"/>
              <a:gd name="connsiteX198" fmla="*/ 179070 w 1296352"/>
              <a:gd name="connsiteY198" fmla="*/ 401003 h 421005"/>
              <a:gd name="connsiteX199" fmla="*/ 166688 w 1296352"/>
              <a:gd name="connsiteY199" fmla="*/ 392430 h 421005"/>
              <a:gd name="connsiteX200" fmla="*/ 145733 w 1296352"/>
              <a:gd name="connsiteY200" fmla="*/ 373380 h 421005"/>
              <a:gd name="connsiteX201" fmla="*/ 169545 w 1296352"/>
              <a:gd name="connsiteY201" fmla="*/ 354330 h 421005"/>
              <a:gd name="connsiteX202" fmla="*/ 367665 w 1296352"/>
              <a:gd name="connsiteY202" fmla="*/ 101918 h 421005"/>
              <a:gd name="connsiteX203" fmla="*/ 306705 w 1296352"/>
              <a:gd name="connsiteY203" fmla="*/ 162878 h 421005"/>
              <a:gd name="connsiteX204" fmla="*/ 367665 w 1296352"/>
              <a:gd name="connsiteY204" fmla="*/ 223838 h 421005"/>
              <a:gd name="connsiteX205" fmla="*/ 428625 w 1296352"/>
              <a:gd name="connsiteY205" fmla="*/ 162878 h 421005"/>
              <a:gd name="connsiteX206" fmla="*/ 367665 w 1296352"/>
              <a:gd name="connsiteY206" fmla="*/ 101918 h 421005"/>
              <a:gd name="connsiteX207" fmla="*/ 1190625 w 1296352"/>
              <a:gd name="connsiteY207" fmla="*/ 100966 h 421005"/>
              <a:gd name="connsiteX208" fmla="*/ 1129665 w 1296352"/>
              <a:gd name="connsiteY208" fmla="*/ 169546 h 421005"/>
              <a:gd name="connsiteX209" fmla="*/ 1183005 w 1296352"/>
              <a:gd name="connsiteY209" fmla="*/ 222886 h 421005"/>
              <a:gd name="connsiteX210" fmla="*/ 1251585 w 1296352"/>
              <a:gd name="connsiteY210" fmla="*/ 165736 h 421005"/>
              <a:gd name="connsiteX211" fmla="*/ 1251585 w 1296352"/>
              <a:gd name="connsiteY211" fmla="*/ 159068 h 421005"/>
              <a:gd name="connsiteX212" fmla="*/ 1190625 w 1296352"/>
              <a:gd name="connsiteY212" fmla="*/ 100966 h 421005"/>
              <a:gd name="connsiteX213" fmla="*/ 718185 w 1296352"/>
              <a:gd name="connsiteY213" fmla="*/ 100965 h 421005"/>
              <a:gd name="connsiteX214" fmla="*/ 657225 w 1296352"/>
              <a:gd name="connsiteY214" fmla="*/ 169545 h 421005"/>
              <a:gd name="connsiteX215" fmla="*/ 710565 w 1296352"/>
              <a:gd name="connsiteY215" fmla="*/ 222885 h 421005"/>
              <a:gd name="connsiteX216" fmla="*/ 779145 w 1296352"/>
              <a:gd name="connsiteY216" fmla="*/ 165735 h 421005"/>
              <a:gd name="connsiteX217" fmla="*/ 779145 w 1296352"/>
              <a:gd name="connsiteY217" fmla="*/ 159067 h 421005"/>
              <a:gd name="connsiteX218" fmla="*/ 718185 w 1296352"/>
              <a:gd name="connsiteY218" fmla="*/ 100965 h 421005"/>
              <a:gd name="connsiteX219" fmla="*/ 962546 w 1296352"/>
              <a:gd name="connsiteY219" fmla="*/ 96694 h 421005"/>
              <a:gd name="connsiteX220" fmla="*/ 939165 w 1296352"/>
              <a:gd name="connsiteY220" fmla="*/ 100966 h 421005"/>
              <a:gd name="connsiteX221" fmla="*/ 897255 w 1296352"/>
              <a:gd name="connsiteY221" fmla="*/ 159068 h 421005"/>
              <a:gd name="connsiteX222" fmla="*/ 1012508 w 1296352"/>
              <a:gd name="connsiteY222" fmla="*/ 127636 h 421005"/>
              <a:gd name="connsiteX223" fmla="*/ 962546 w 1296352"/>
              <a:gd name="connsiteY223" fmla="*/ 96694 h 421005"/>
              <a:gd name="connsiteX224" fmla="*/ 1182052 w 1296352"/>
              <a:gd name="connsiteY224" fmla="*/ 57151 h 421005"/>
              <a:gd name="connsiteX225" fmla="*/ 1296352 w 1296352"/>
              <a:gd name="connsiteY225" fmla="*/ 165736 h 421005"/>
              <a:gd name="connsiteX226" fmla="*/ 1296352 w 1296352"/>
              <a:gd name="connsiteY226" fmla="*/ 266701 h 421005"/>
              <a:gd name="connsiteX227" fmla="*/ 1255395 w 1296352"/>
              <a:gd name="connsiteY227" fmla="*/ 266701 h 421005"/>
              <a:gd name="connsiteX228" fmla="*/ 1255395 w 1296352"/>
              <a:gd name="connsiteY228" fmla="*/ 235268 h 421005"/>
              <a:gd name="connsiteX229" fmla="*/ 1189672 w 1296352"/>
              <a:gd name="connsiteY229" fmla="*/ 269558 h 421005"/>
              <a:gd name="connsiteX230" fmla="*/ 1083945 w 1296352"/>
              <a:gd name="connsiteY230" fmla="*/ 156211 h 421005"/>
              <a:gd name="connsiteX231" fmla="*/ 1182052 w 1296352"/>
              <a:gd name="connsiteY231" fmla="*/ 57151 h 421005"/>
              <a:gd name="connsiteX232" fmla="*/ 957263 w 1296352"/>
              <a:gd name="connsiteY232" fmla="*/ 57151 h 421005"/>
              <a:gd name="connsiteX233" fmla="*/ 1065847 w 1296352"/>
              <a:gd name="connsiteY233" fmla="*/ 152401 h 421005"/>
              <a:gd name="connsiteX234" fmla="*/ 906780 w 1296352"/>
              <a:gd name="connsiteY234" fmla="*/ 196216 h 421005"/>
              <a:gd name="connsiteX235" fmla="*/ 972502 w 1296352"/>
              <a:gd name="connsiteY235" fmla="*/ 227648 h 421005"/>
              <a:gd name="connsiteX236" fmla="*/ 1018222 w 1296352"/>
              <a:gd name="connsiteY236" fmla="*/ 192406 h 421005"/>
              <a:gd name="connsiteX237" fmla="*/ 1059180 w 1296352"/>
              <a:gd name="connsiteY237" fmla="*/ 204788 h 421005"/>
              <a:gd name="connsiteX238" fmla="*/ 960120 w 1296352"/>
              <a:gd name="connsiteY238" fmla="*/ 270511 h 421005"/>
              <a:gd name="connsiteX239" fmla="*/ 853440 w 1296352"/>
              <a:gd name="connsiteY239" fmla="*/ 164783 h 421005"/>
              <a:gd name="connsiteX240" fmla="*/ 957263 w 1296352"/>
              <a:gd name="connsiteY240" fmla="*/ 57151 h 421005"/>
              <a:gd name="connsiteX241" fmla="*/ 606742 w 1296352"/>
              <a:gd name="connsiteY241" fmla="*/ 56198 h 421005"/>
              <a:gd name="connsiteX242" fmla="*/ 606742 w 1296352"/>
              <a:gd name="connsiteY242" fmla="*/ 100013 h 421005"/>
              <a:gd name="connsiteX243" fmla="*/ 547688 w 1296352"/>
              <a:gd name="connsiteY243" fmla="*/ 165736 h 421005"/>
              <a:gd name="connsiteX244" fmla="*/ 547688 w 1296352"/>
              <a:gd name="connsiteY244" fmla="*/ 265748 h 421005"/>
              <a:gd name="connsiteX245" fmla="*/ 501015 w 1296352"/>
              <a:gd name="connsiteY245" fmla="*/ 265748 h 421005"/>
              <a:gd name="connsiteX246" fmla="*/ 501015 w 1296352"/>
              <a:gd name="connsiteY246" fmla="*/ 160021 h 421005"/>
              <a:gd name="connsiteX247" fmla="*/ 501015 w 1296352"/>
              <a:gd name="connsiteY247" fmla="*/ 62866 h 421005"/>
              <a:gd name="connsiteX248" fmla="*/ 546735 w 1296352"/>
              <a:gd name="connsiteY248" fmla="*/ 62866 h 421005"/>
              <a:gd name="connsiteX249" fmla="*/ 546735 w 1296352"/>
              <a:gd name="connsiteY249" fmla="*/ 86678 h 421005"/>
              <a:gd name="connsiteX250" fmla="*/ 606742 w 1296352"/>
              <a:gd name="connsiteY250" fmla="*/ 56198 h 421005"/>
              <a:gd name="connsiteX251" fmla="*/ 367665 w 1296352"/>
              <a:gd name="connsiteY251" fmla="*/ 56198 h 421005"/>
              <a:gd name="connsiteX252" fmla="*/ 474345 w 1296352"/>
              <a:gd name="connsiteY252" fmla="*/ 162878 h 421005"/>
              <a:gd name="connsiteX253" fmla="*/ 367665 w 1296352"/>
              <a:gd name="connsiteY253" fmla="*/ 269558 h 421005"/>
              <a:gd name="connsiteX254" fmla="*/ 260985 w 1296352"/>
              <a:gd name="connsiteY254" fmla="*/ 162878 h 421005"/>
              <a:gd name="connsiteX255" fmla="*/ 367665 w 1296352"/>
              <a:gd name="connsiteY255" fmla="*/ 56198 h 421005"/>
              <a:gd name="connsiteX256" fmla="*/ 0 w 1296352"/>
              <a:gd name="connsiteY256" fmla="*/ 20956 h 421005"/>
              <a:gd name="connsiteX257" fmla="*/ 47625 w 1296352"/>
              <a:gd name="connsiteY257" fmla="*/ 20956 h 421005"/>
              <a:gd name="connsiteX258" fmla="*/ 186690 w 1296352"/>
              <a:gd name="connsiteY258" fmla="*/ 184786 h 421005"/>
              <a:gd name="connsiteX259" fmla="*/ 186690 w 1296352"/>
              <a:gd name="connsiteY259" fmla="*/ 20956 h 421005"/>
              <a:gd name="connsiteX260" fmla="*/ 233363 w 1296352"/>
              <a:gd name="connsiteY260" fmla="*/ 20956 h 421005"/>
              <a:gd name="connsiteX261" fmla="*/ 233363 w 1296352"/>
              <a:gd name="connsiteY261" fmla="*/ 266701 h 421005"/>
              <a:gd name="connsiteX262" fmla="*/ 190500 w 1296352"/>
              <a:gd name="connsiteY262" fmla="*/ 266701 h 421005"/>
              <a:gd name="connsiteX263" fmla="*/ 49530 w 1296352"/>
              <a:gd name="connsiteY263" fmla="*/ 101918 h 421005"/>
              <a:gd name="connsiteX264" fmla="*/ 49530 w 1296352"/>
              <a:gd name="connsiteY264" fmla="*/ 265748 h 421005"/>
              <a:gd name="connsiteX265" fmla="*/ 0 w 1296352"/>
              <a:gd name="connsiteY265" fmla="*/ 265748 h 421005"/>
              <a:gd name="connsiteX266" fmla="*/ 781050 w 1296352"/>
              <a:gd name="connsiteY266" fmla="*/ 0 h 421005"/>
              <a:gd name="connsiteX267" fmla="*/ 824865 w 1296352"/>
              <a:gd name="connsiteY267" fmla="*/ 0 h 421005"/>
              <a:gd name="connsiteX268" fmla="*/ 824865 w 1296352"/>
              <a:gd name="connsiteY268" fmla="*/ 160973 h 421005"/>
              <a:gd name="connsiteX269" fmla="*/ 824865 w 1296352"/>
              <a:gd name="connsiteY269" fmla="*/ 162878 h 421005"/>
              <a:gd name="connsiteX270" fmla="*/ 824865 w 1296352"/>
              <a:gd name="connsiteY270" fmla="*/ 164783 h 421005"/>
              <a:gd name="connsiteX271" fmla="*/ 824865 w 1296352"/>
              <a:gd name="connsiteY271" fmla="*/ 267653 h 421005"/>
              <a:gd name="connsiteX272" fmla="*/ 783908 w 1296352"/>
              <a:gd name="connsiteY272" fmla="*/ 267653 h 421005"/>
              <a:gd name="connsiteX273" fmla="*/ 783908 w 1296352"/>
              <a:gd name="connsiteY273" fmla="*/ 240030 h 421005"/>
              <a:gd name="connsiteX274" fmla="*/ 718185 w 1296352"/>
              <a:gd name="connsiteY274" fmla="*/ 270510 h 421005"/>
              <a:gd name="connsiteX275" fmla="*/ 612458 w 1296352"/>
              <a:gd name="connsiteY275" fmla="*/ 157163 h 421005"/>
              <a:gd name="connsiteX276" fmla="*/ 710565 w 1296352"/>
              <a:gd name="connsiteY276" fmla="*/ 58103 h 421005"/>
              <a:gd name="connsiteX277" fmla="*/ 781050 w 1296352"/>
              <a:gd name="connsiteY277" fmla="*/ 80010 h 42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</a:cxnLst>
            <a:rect l="l" t="t" r="r" b="b"/>
            <a:pathLst>
              <a:path w="1296352" h="421005">
                <a:moveTo>
                  <a:pt x="720090" y="368618"/>
                </a:moveTo>
                <a:cubicBezTo>
                  <a:pt x="717233" y="376238"/>
                  <a:pt x="714375" y="384811"/>
                  <a:pt x="711518" y="392431"/>
                </a:cubicBezTo>
                <a:lnTo>
                  <a:pt x="710565" y="394336"/>
                </a:lnTo>
                <a:lnTo>
                  <a:pt x="729615" y="394336"/>
                </a:lnTo>
                <a:lnTo>
                  <a:pt x="728663" y="392431"/>
                </a:lnTo>
                <a:cubicBezTo>
                  <a:pt x="725805" y="384811"/>
                  <a:pt x="722948" y="376238"/>
                  <a:pt x="720090" y="368618"/>
                </a:cubicBezTo>
                <a:close/>
                <a:moveTo>
                  <a:pt x="565785" y="368618"/>
                </a:moveTo>
                <a:cubicBezTo>
                  <a:pt x="562928" y="376238"/>
                  <a:pt x="560070" y="384811"/>
                  <a:pt x="557213" y="392431"/>
                </a:cubicBezTo>
                <a:lnTo>
                  <a:pt x="556260" y="394336"/>
                </a:lnTo>
                <a:lnTo>
                  <a:pt x="575310" y="394336"/>
                </a:lnTo>
                <a:lnTo>
                  <a:pt x="574357" y="392431"/>
                </a:lnTo>
                <a:cubicBezTo>
                  <a:pt x="571500" y="384811"/>
                  <a:pt x="568643" y="376238"/>
                  <a:pt x="565785" y="368618"/>
                </a:cubicBezTo>
                <a:close/>
                <a:moveTo>
                  <a:pt x="100012" y="368618"/>
                </a:moveTo>
                <a:cubicBezTo>
                  <a:pt x="97155" y="376238"/>
                  <a:pt x="94298" y="384811"/>
                  <a:pt x="91440" y="392431"/>
                </a:cubicBezTo>
                <a:lnTo>
                  <a:pt x="90487" y="394336"/>
                </a:lnTo>
                <a:lnTo>
                  <a:pt x="109537" y="394336"/>
                </a:lnTo>
                <a:lnTo>
                  <a:pt x="108585" y="392431"/>
                </a:lnTo>
                <a:cubicBezTo>
                  <a:pt x="105728" y="384811"/>
                  <a:pt x="102870" y="376238"/>
                  <a:pt x="100012" y="368618"/>
                </a:cubicBezTo>
                <a:close/>
                <a:moveTo>
                  <a:pt x="915353" y="356236"/>
                </a:moveTo>
                <a:lnTo>
                  <a:pt x="933451" y="356236"/>
                </a:lnTo>
                <a:lnTo>
                  <a:pt x="942976" y="381953"/>
                </a:lnTo>
                <a:cubicBezTo>
                  <a:pt x="945833" y="388621"/>
                  <a:pt x="947738" y="395288"/>
                  <a:pt x="950596" y="401956"/>
                </a:cubicBezTo>
                <a:cubicBezTo>
                  <a:pt x="952501" y="395288"/>
                  <a:pt x="955358" y="388621"/>
                  <a:pt x="958215" y="381953"/>
                </a:cubicBezTo>
                <a:lnTo>
                  <a:pt x="967740" y="356236"/>
                </a:lnTo>
                <a:lnTo>
                  <a:pt x="986790" y="356236"/>
                </a:lnTo>
                <a:lnTo>
                  <a:pt x="986790" y="419101"/>
                </a:lnTo>
                <a:lnTo>
                  <a:pt x="973455" y="419101"/>
                </a:lnTo>
                <a:lnTo>
                  <a:pt x="973455" y="396241"/>
                </a:lnTo>
                <a:cubicBezTo>
                  <a:pt x="973455" y="387668"/>
                  <a:pt x="973455" y="379096"/>
                  <a:pt x="973455" y="370523"/>
                </a:cubicBezTo>
                <a:cubicBezTo>
                  <a:pt x="970598" y="379096"/>
                  <a:pt x="967740" y="387668"/>
                  <a:pt x="963930" y="396241"/>
                </a:cubicBezTo>
                <a:lnTo>
                  <a:pt x="955358" y="419101"/>
                </a:lnTo>
                <a:lnTo>
                  <a:pt x="945833" y="419101"/>
                </a:lnTo>
                <a:lnTo>
                  <a:pt x="937260" y="396241"/>
                </a:lnTo>
                <a:cubicBezTo>
                  <a:pt x="934403" y="387668"/>
                  <a:pt x="930593" y="380048"/>
                  <a:pt x="927735" y="371476"/>
                </a:cubicBezTo>
                <a:cubicBezTo>
                  <a:pt x="927735" y="380048"/>
                  <a:pt x="927735" y="388621"/>
                  <a:pt x="927735" y="397193"/>
                </a:cubicBezTo>
                <a:lnTo>
                  <a:pt x="927735" y="420053"/>
                </a:lnTo>
                <a:lnTo>
                  <a:pt x="915353" y="420053"/>
                </a:lnTo>
                <a:close/>
                <a:moveTo>
                  <a:pt x="445770" y="356236"/>
                </a:moveTo>
                <a:lnTo>
                  <a:pt x="463868" y="356236"/>
                </a:lnTo>
                <a:lnTo>
                  <a:pt x="473393" y="381953"/>
                </a:lnTo>
                <a:cubicBezTo>
                  <a:pt x="476250" y="388621"/>
                  <a:pt x="478155" y="395288"/>
                  <a:pt x="481013" y="401956"/>
                </a:cubicBezTo>
                <a:cubicBezTo>
                  <a:pt x="482918" y="395288"/>
                  <a:pt x="485775" y="388621"/>
                  <a:pt x="488633" y="381953"/>
                </a:cubicBezTo>
                <a:lnTo>
                  <a:pt x="498158" y="356236"/>
                </a:lnTo>
                <a:lnTo>
                  <a:pt x="516255" y="356236"/>
                </a:lnTo>
                <a:lnTo>
                  <a:pt x="516255" y="419101"/>
                </a:lnTo>
                <a:lnTo>
                  <a:pt x="502920" y="419101"/>
                </a:lnTo>
                <a:lnTo>
                  <a:pt x="502920" y="396241"/>
                </a:lnTo>
                <a:cubicBezTo>
                  <a:pt x="502920" y="387668"/>
                  <a:pt x="502920" y="379096"/>
                  <a:pt x="502920" y="370523"/>
                </a:cubicBezTo>
                <a:cubicBezTo>
                  <a:pt x="500063" y="379096"/>
                  <a:pt x="497205" y="387668"/>
                  <a:pt x="493395" y="396241"/>
                </a:cubicBezTo>
                <a:lnTo>
                  <a:pt x="484822" y="419101"/>
                </a:lnTo>
                <a:lnTo>
                  <a:pt x="475297" y="419101"/>
                </a:lnTo>
                <a:lnTo>
                  <a:pt x="467678" y="396241"/>
                </a:lnTo>
                <a:cubicBezTo>
                  <a:pt x="464820" y="387668"/>
                  <a:pt x="461010" y="380048"/>
                  <a:pt x="458153" y="371476"/>
                </a:cubicBezTo>
                <a:cubicBezTo>
                  <a:pt x="458153" y="380048"/>
                  <a:pt x="458153" y="388621"/>
                  <a:pt x="458153" y="397193"/>
                </a:cubicBezTo>
                <a:lnTo>
                  <a:pt x="458153" y="420053"/>
                </a:lnTo>
                <a:lnTo>
                  <a:pt x="445770" y="420053"/>
                </a:lnTo>
                <a:close/>
                <a:moveTo>
                  <a:pt x="1158240" y="355283"/>
                </a:moveTo>
                <a:lnTo>
                  <a:pt x="1208723" y="355283"/>
                </a:lnTo>
                <a:lnTo>
                  <a:pt x="1208723" y="366713"/>
                </a:lnTo>
                <a:lnTo>
                  <a:pt x="1189673" y="366713"/>
                </a:lnTo>
                <a:lnTo>
                  <a:pt x="1189673" y="419101"/>
                </a:lnTo>
                <a:lnTo>
                  <a:pt x="1176338" y="419101"/>
                </a:lnTo>
                <a:lnTo>
                  <a:pt x="1176338" y="366713"/>
                </a:lnTo>
                <a:lnTo>
                  <a:pt x="1158240" y="366713"/>
                </a:lnTo>
                <a:close/>
                <a:moveTo>
                  <a:pt x="1084897" y="355283"/>
                </a:moveTo>
                <a:lnTo>
                  <a:pt x="1099185" y="355283"/>
                </a:lnTo>
                <a:lnTo>
                  <a:pt x="1113472" y="377191"/>
                </a:lnTo>
                <a:cubicBezTo>
                  <a:pt x="1119187" y="384811"/>
                  <a:pt x="1122997" y="391478"/>
                  <a:pt x="1125855" y="397193"/>
                </a:cubicBezTo>
                <a:lnTo>
                  <a:pt x="1125855" y="355283"/>
                </a:lnTo>
                <a:lnTo>
                  <a:pt x="1138237" y="355283"/>
                </a:lnTo>
                <a:lnTo>
                  <a:pt x="1138237" y="419101"/>
                </a:lnTo>
                <a:lnTo>
                  <a:pt x="1126807" y="419101"/>
                </a:lnTo>
                <a:lnTo>
                  <a:pt x="1111567" y="395288"/>
                </a:lnTo>
                <a:cubicBezTo>
                  <a:pt x="1104900" y="385763"/>
                  <a:pt x="1101089" y="379096"/>
                  <a:pt x="1097280" y="373381"/>
                </a:cubicBezTo>
                <a:lnTo>
                  <a:pt x="1097280" y="419101"/>
                </a:lnTo>
                <a:lnTo>
                  <a:pt x="1084897" y="419101"/>
                </a:lnTo>
                <a:close/>
                <a:moveTo>
                  <a:pt x="1013460" y="355283"/>
                </a:moveTo>
                <a:lnTo>
                  <a:pt x="1057275" y="355283"/>
                </a:lnTo>
                <a:lnTo>
                  <a:pt x="1057275" y="366713"/>
                </a:lnTo>
                <a:lnTo>
                  <a:pt x="1026795" y="366713"/>
                </a:lnTo>
                <a:lnTo>
                  <a:pt x="1026795" y="381001"/>
                </a:lnTo>
                <a:lnTo>
                  <a:pt x="1054418" y="381001"/>
                </a:lnTo>
                <a:lnTo>
                  <a:pt x="1054418" y="392431"/>
                </a:lnTo>
                <a:lnTo>
                  <a:pt x="1026795" y="392431"/>
                </a:lnTo>
                <a:lnTo>
                  <a:pt x="1026795" y="407671"/>
                </a:lnTo>
                <a:lnTo>
                  <a:pt x="1058227" y="407671"/>
                </a:lnTo>
                <a:lnTo>
                  <a:pt x="1058227" y="419101"/>
                </a:lnTo>
                <a:lnTo>
                  <a:pt x="1013460" y="419101"/>
                </a:lnTo>
                <a:close/>
                <a:moveTo>
                  <a:pt x="845820" y="355283"/>
                </a:moveTo>
                <a:lnTo>
                  <a:pt x="889635" y="355283"/>
                </a:lnTo>
                <a:lnTo>
                  <a:pt x="889635" y="366713"/>
                </a:lnTo>
                <a:lnTo>
                  <a:pt x="859155" y="366713"/>
                </a:lnTo>
                <a:lnTo>
                  <a:pt x="859155" y="381001"/>
                </a:lnTo>
                <a:lnTo>
                  <a:pt x="886778" y="381001"/>
                </a:lnTo>
                <a:lnTo>
                  <a:pt x="886778" y="392431"/>
                </a:lnTo>
                <a:lnTo>
                  <a:pt x="859155" y="392431"/>
                </a:lnTo>
                <a:lnTo>
                  <a:pt x="859155" y="407671"/>
                </a:lnTo>
                <a:lnTo>
                  <a:pt x="890588" y="407671"/>
                </a:lnTo>
                <a:lnTo>
                  <a:pt x="890588" y="419101"/>
                </a:lnTo>
                <a:lnTo>
                  <a:pt x="845820" y="419101"/>
                </a:lnTo>
                <a:close/>
                <a:moveTo>
                  <a:pt x="713423" y="355283"/>
                </a:moveTo>
                <a:lnTo>
                  <a:pt x="729615" y="355283"/>
                </a:lnTo>
                <a:lnTo>
                  <a:pt x="753428" y="419101"/>
                </a:lnTo>
                <a:lnTo>
                  <a:pt x="739140" y="419101"/>
                </a:lnTo>
                <a:lnTo>
                  <a:pt x="734378" y="405766"/>
                </a:lnTo>
                <a:lnTo>
                  <a:pt x="707708" y="405766"/>
                </a:lnTo>
                <a:lnTo>
                  <a:pt x="702945" y="419101"/>
                </a:lnTo>
                <a:lnTo>
                  <a:pt x="689610" y="419101"/>
                </a:lnTo>
                <a:close/>
                <a:moveTo>
                  <a:pt x="617220" y="355283"/>
                </a:moveTo>
                <a:lnTo>
                  <a:pt x="631508" y="355283"/>
                </a:lnTo>
                <a:lnTo>
                  <a:pt x="645795" y="377191"/>
                </a:lnTo>
                <a:cubicBezTo>
                  <a:pt x="651510" y="384811"/>
                  <a:pt x="655320" y="391478"/>
                  <a:pt x="658178" y="397193"/>
                </a:cubicBezTo>
                <a:lnTo>
                  <a:pt x="658178" y="355283"/>
                </a:lnTo>
                <a:lnTo>
                  <a:pt x="670560" y="355283"/>
                </a:lnTo>
                <a:lnTo>
                  <a:pt x="670560" y="419101"/>
                </a:lnTo>
                <a:lnTo>
                  <a:pt x="659130" y="419101"/>
                </a:lnTo>
                <a:lnTo>
                  <a:pt x="643890" y="395288"/>
                </a:lnTo>
                <a:cubicBezTo>
                  <a:pt x="637222" y="385763"/>
                  <a:pt x="633413" y="379096"/>
                  <a:pt x="629603" y="373381"/>
                </a:cubicBezTo>
                <a:lnTo>
                  <a:pt x="629603" y="419101"/>
                </a:lnTo>
                <a:lnTo>
                  <a:pt x="617220" y="419101"/>
                </a:lnTo>
                <a:close/>
                <a:moveTo>
                  <a:pt x="559118" y="355283"/>
                </a:moveTo>
                <a:lnTo>
                  <a:pt x="575310" y="355283"/>
                </a:lnTo>
                <a:lnTo>
                  <a:pt x="599122" y="419101"/>
                </a:lnTo>
                <a:lnTo>
                  <a:pt x="584835" y="419101"/>
                </a:lnTo>
                <a:lnTo>
                  <a:pt x="580072" y="405766"/>
                </a:lnTo>
                <a:lnTo>
                  <a:pt x="553403" y="405766"/>
                </a:lnTo>
                <a:lnTo>
                  <a:pt x="548640" y="419101"/>
                </a:lnTo>
                <a:lnTo>
                  <a:pt x="535305" y="419101"/>
                </a:lnTo>
                <a:close/>
                <a:moveTo>
                  <a:pt x="338137" y="355283"/>
                </a:moveTo>
                <a:lnTo>
                  <a:pt x="388619" y="355283"/>
                </a:lnTo>
                <a:lnTo>
                  <a:pt x="388619" y="366713"/>
                </a:lnTo>
                <a:lnTo>
                  <a:pt x="369569" y="366713"/>
                </a:lnTo>
                <a:lnTo>
                  <a:pt x="369569" y="419101"/>
                </a:lnTo>
                <a:lnTo>
                  <a:pt x="356234" y="419101"/>
                </a:lnTo>
                <a:lnTo>
                  <a:pt x="356234" y="366713"/>
                </a:lnTo>
                <a:lnTo>
                  <a:pt x="338137" y="366713"/>
                </a:lnTo>
                <a:close/>
                <a:moveTo>
                  <a:pt x="274320" y="355283"/>
                </a:moveTo>
                <a:lnTo>
                  <a:pt x="318135" y="355283"/>
                </a:lnTo>
                <a:lnTo>
                  <a:pt x="318135" y="366713"/>
                </a:lnTo>
                <a:lnTo>
                  <a:pt x="287655" y="366713"/>
                </a:lnTo>
                <a:lnTo>
                  <a:pt x="287655" y="381001"/>
                </a:lnTo>
                <a:lnTo>
                  <a:pt x="315278" y="381001"/>
                </a:lnTo>
                <a:lnTo>
                  <a:pt x="315278" y="392431"/>
                </a:lnTo>
                <a:lnTo>
                  <a:pt x="287655" y="392431"/>
                </a:lnTo>
                <a:lnTo>
                  <a:pt x="287655" y="407671"/>
                </a:lnTo>
                <a:lnTo>
                  <a:pt x="319088" y="407671"/>
                </a:lnTo>
                <a:lnTo>
                  <a:pt x="319088" y="419101"/>
                </a:lnTo>
                <a:lnTo>
                  <a:pt x="274320" y="419101"/>
                </a:lnTo>
                <a:close/>
                <a:moveTo>
                  <a:pt x="92393" y="355283"/>
                </a:moveTo>
                <a:lnTo>
                  <a:pt x="108585" y="355283"/>
                </a:lnTo>
                <a:lnTo>
                  <a:pt x="132398" y="419101"/>
                </a:lnTo>
                <a:lnTo>
                  <a:pt x="118110" y="419101"/>
                </a:lnTo>
                <a:lnTo>
                  <a:pt x="113348" y="405766"/>
                </a:lnTo>
                <a:lnTo>
                  <a:pt x="86678" y="405766"/>
                </a:lnTo>
                <a:lnTo>
                  <a:pt x="81915" y="419101"/>
                </a:lnTo>
                <a:lnTo>
                  <a:pt x="68580" y="419101"/>
                </a:lnTo>
                <a:close/>
                <a:moveTo>
                  <a:pt x="797242" y="354330"/>
                </a:moveTo>
                <a:cubicBezTo>
                  <a:pt x="805815" y="354330"/>
                  <a:pt x="813434" y="357188"/>
                  <a:pt x="818197" y="360998"/>
                </a:cubicBezTo>
                <a:lnTo>
                  <a:pt x="810577" y="370523"/>
                </a:lnTo>
                <a:cubicBezTo>
                  <a:pt x="807720" y="367665"/>
                  <a:pt x="802957" y="365760"/>
                  <a:pt x="796290" y="365760"/>
                </a:cubicBezTo>
                <a:cubicBezTo>
                  <a:pt x="782955" y="365760"/>
                  <a:pt x="778192" y="376238"/>
                  <a:pt x="778192" y="386715"/>
                </a:cubicBezTo>
                <a:cubicBezTo>
                  <a:pt x="778192" y="397193"/>
                  <a:pt x="782002" y="408623"/>
                  <a:pt x="796290" y="408623"/>
                </a:cubicBezTo>
                <a:cubicBezTo>
                  <a:pt x="801052" y="408623"/>
                  <a:pt x="803909" y="407670"/>
                  <a:pt x="806767" y="405765"/>
                </a:cubicBezTo>
                <a:lnTo>
                  <a:pt x="806767" y="393382"/>
                </a:lnTo>
                <a:lnTo>
                  <a:pt x="792480" y="393382"/>
                </a:lnTo>
                <a:lnTo>
                  <a:pt x="792480" y="381953"/>
                </a:lnTo>
                <a:lnTo>
                  <a:pt x="820102" y="381953"/>
                </a:lnTo>
                <a:lnTo>
                  <a:pt x="820102" y="382905"/>
                </a:lnTo>
                <a:lnTo>
                  <a:pt x="820102" y="411480"/>
                </a:lnTo>
                <a:cubicBezTo>
                  <a:pt x="815340" y="417195"/>
                  <a:pt x="806767" y="421005"/>
                  <a:pt x="796290" y="421005"/>
                </a:cubicBezTo>
                <a:cubicBezTo>
                  <a:pt x="777240" y="421005"/>
                  <a:pt x="764857" y="409575"/>
                  <a:pt x="764857" y="387668"/>
                </a:cubicBezTo>
                <a:cubicBezTo>
                  <a:pt x="764857" y="365760"/>
                  <a:pt x="778192" y="354330"/>
                  <a:pt x="797242" y="354330"/>
                </a:cubicBezTo>
                <a:close/>
                <a:moveTo>
                  <a:pt x="232411" y="354330"/>
                </a:moveTo>
                <a:cubicBezTo>
                  <a:pt x="241936" y="354330"/>
                  <a:pt x="249556" y="357188"/>
                  <a:pt x="253366" y="360998"/>
                </a:cubicBezTo>
                <a:lnTo>
                  <a:pt x="246698" y="370523"/>
                </a:lnTo>
                <a:cubicBezTo>
                  <a:pt x="242888" y="366713"/>
                  <a:pt x="237173" y="365760"/>
                  <a:pt x="231458" y="365760"/>
                </a:cubicBezTo>
                <a:cubicBezTo>
                  <a:pt x="224791" y="365760"/>
                  <a:pt x="220981" y="368618"/>
                  <a:pt x="220981" y="372428"/>
                </a:cubicBezTo>
                <a:cubicBezTo>
                  <a:pt x="220981" y="376238"/>
                  <a:pt x="224791" y="378143"/>
                  <a:pt x="234316" y="381000"/>
                </a:cubicBezTo>
                <a:cubicBezTo>
                  <a:pt x="247650" y="384810"/>
                  <a:pt x="254318" y="390525"/>
                  <a:pt x="254318" y="400050"/>
                </a:cubicBezTo>
                <a:cubicBezTo>
                  <a:pt x="254318" y="411480"/>
                  <a:pt x="245745" y="420053"/>
                  <a:pt x="230506" y="420053"/>
                </a:cubicBezTo>
                <a:cubicBezTo>
                  <a:pt x="220981" y="420053"/>
                  <a:pt x="211456" y="416243"/>
                  <a:pt x="206693" y="411480"/>
                </a:cubicBezTo>
                <a:lnTo>
                  <a:pt x="213361" y="401955"/>
                </a:lnTo>
                <a:cubicBezTo>
                  <a:pt x="216218" y="404813"/>
                  <a:pt x="222886" y="408623"/>
                  <a:pt x="231458" y="408623"/>
                </a:cubicBezTo>
                <a:cubicBezTo>
                  <a:pt x="238125" y="408623"/>
                  <a:pt x="241936" y="406718"/>
                  <a:pt x="241936" y="401003"/>
                </a:cubicBezTo>
                <a:cubicBezTo>
                  <a:pt x="241936" y="396240"/>
                  <a:pt x="237173" y="394335"/>
                  <a:pt x="229553" y="392430"/>
                </a:cubicBezTo>
                <a:cubicBezTo>
                  <a:pt x="215266" y="388620"/>
                  <a:pt x="208598" y="383857"/>
                  <a:pt x="208598" y="373380"/>
                </a:cubicBezTo>
                <a:cubicBezTo>
                  <a:pt x="208598" y="362903"/>
                  <a:pt x="216218" y="354330"/>
                  <a:pt x="232411" y="354330"/>
                </a:cubicBezTo>
                <a:close/>
                <a:moveTo>
                  <a:pt x="169545" y="354330"/>
                </a:moveTo>
                <a:cubicBezTo>
                  <a:pt x="179070" y="354330"/>
                  <a:pt x="186691" y="357188"/>
                  <a:pt x="190500" y="360998"/>
                </a:cubicBezTo>
                <a:lnTo>
                  <a:pt x="183833" y="370523"/>
                </a:lnTo>
                <a:cubicBezTo>
                  <a:pt x="180023" y="366713"/>
                  <a:pt x="174308" y="365760"/>
                  <a:pt x="168593" y="365760"/>
                </a:cubicBezTo>
                <a:cubicBezTo>
                  <a:pt x="161925" y="365760"/>
                  <a:pt x="158116" y="368618"/>
                  <a:pt x="158116" y="372428"/>
                </a:cubicBezTo>
                <a:cubicBezTo>
                  <a:pt x="158116" y="376238"/>
                  <a:pt x="161925" y="378143"/>
                  <a:pt x="171450" y="381000"/>
                </a:cubicBezTo>
                <a:cubicBezTo>
                  <a:pt x="184785" y="384810"/>
                  <a:pt x="191453" y="390525"/>
                  <a:pt x="191453" y="400050"/>
                </a:cubicBezTo>
                <a:cubicBezTo>
                  <a:pt x="191453" y="411480"/>
                  <a:pt x="182880" y="420053"/>
                  <a:pt x="167641" y="420053"/>
                </a:cubicBezTo>
                <a:cubicBezTo>
                  <a:pt x="158116" y="420053"/>
                  <a:pt x="148591" y="416243"/>
                  <a:pt x="143828" y="411480"/>
                </a:cubicBezTo>
                <a:lnTo>
                  <a:pt x="150495" y="401955"/>
                </a:lnTo>
                <a:cubicBezTo>
                  <a:pt x="153353" y="404813"/>
                  <a:pt x="160020" y="408623"/>
                  <a:pt x="168593" y="408623"/>
                </a:cubicBezTo>
                <a:cubicBezTo>
                  <a:pt x="175260" y="408623"/>
                  <a:pt x="179070" y="406718"/>
                  <a:pt x="179070" y="401003"/>
                </a:cubicBezTo>
                <a:cubicBezTo>
                  <a:pt x="179070" y="396240"/>
                  <a:pt x="174308" y="394335"/>
                  <a:pt x="166688" y="392430"/>
                </a:cubicBezTo>
                <a:cubicBezTo>
                  <a:pt x="152400" y="388620"/>
                  <a:pt x="145733" y="383857"/>
                  <a:pt x="145733" y="373380"/>
                </a:cubicBezTo>
                <a:cubicBezTo>
                  <a:pt x="145733" y="362903"/>
                  <a:pt x="153353" y="354330"/>
                  <a:pt x="169545" y="354330"/>
                </a:cubicBezTo>
                <a:close/>
                <a:moveTo>
                  <a:pt x="367665" y="101918"/>
                </a:moveTo>
                <a:cubicBezTo>
                  <a:pt x="334328" y="101918"/>
                  <a:pt x="306705" y="129541"/>
                  <a:pt x="306705" y="162878"/>
                </a:cubicBezTo>
                <a:cubicBezTo>
                  <a:pt x="306705" y="196216"/>
                  <a:pt x="334328" y="223838"/>
                  <a:pt x="367665" y="223838"/>
                </a:cubicBezTo>
                <a:cubicBezTo>
                  <a:pt x="401003" y="223838"/>
                  <a:pt x="428625" y="197168"/>
                  <a:pt x="428625" y="162878"/>
                </a:cubicBezTo>
                <a:cubicBezTo>
                  <a:pt x="428625" y="129541"/>
                  <a:pt x="401003" y="101918"/>
                  <a:pt x="367665" y="101918"/>
                </a:cubicBezTo>
                <a:close/>
                <a:moveTo>
                  <a:pt x="1190625" y="100966"/>
                </a:moveTo>
                <a:cubicBezTo>
                  <a:pt x="1154430" y="100966"/>
                  <a:pt x="1125855" y="132398"/>
                  <a:pt x="1129665" y="169546"/>
                </a:cubicBezTo>
                <a:cubicBezTo>
                  <a:pt x="1133475" y="197168"/>
                  <a:pt x="1155382" y="219076"/>
                  <a:pt x="1183005" y="222886"/>
                </a:cubicBezTo>
                <a:cubicBezTo>
                  <a:pt x="1219200" y="227648"/>
                  <a:pt x="1249680" y="200978"/>
                  <a:pt x="1251585" y="165736"/>
                </a:cubicBezTo>
                <a:lnTo>
                  <a:pt x="1251585" y="159068"/>
                </a:lnTo>
                <a:cubicBezTo>
                  <a:pt x="1249680" y="126683"/>
                  <a:pt x="1223010" y="100966"/>
                  <a:pt x="1190625" y="100966"/>
                </a:cubicBezTo>
                <a:close/>
                <a:moveTo>
                  <a:pt x="718185" y="100965"/>
                </a:moveTo>
                <a:cubicBezTo>
                  <a:pt x="681990" y="100965"/>
                  <a:pt x="653415" y="132398"/>
                  <a:pt x="657225" y="169545"/>
                </a:cubicBezTo>
                <a:cubicBezTo>
                  <a:pt x="661035" y="197167"/>
                  <a:pt x="682943" y="219075"/>
                  <a:pt x="710565" y="222885"/>
                </a:cubicBezTo>
                <a:cubicBezTo>
                  <a:pt x="746760" y="227648"/>
                  <a:pt x="777240" y="200978"/>
                  <a:pt x="779145" y="165735"/>
                </a:cubicBezTo>
                <a:cubicBezTo>
                  <a:pt x="779145" y="165735"/>
                  <a:pt x="779145" y="159067"/>
                  <a:pt x="779145" y="159067"/>
                </a:cubicBezTo>
                <a:cubicBezTo>
                  <a:pt x="777240" y="126683"/>
                  <a:pt x="750570" y="100965"/>
                  <a:pt x="718185" y="100965"/>
                </a:cubicBezTo>
                <a:close/>
                <a:moveTo>
                  <a:pt x="962546" y="96694"/>
                </a:moveTo>
                <a:cubicBezTo>
                  <a:pt x="955119" y="96560"/>
                  <a:pt x="947261" y="97870"/>
                  <a:pt x="939165" y="100966"/>
                </a:cubicBezTo>
                <a:cubicBezTo>
                  <a:pt x="910590" y="111443"/>
                  <a:pt x="897255" y="137161"/>
                  <a:pt x="897255" y="159068"/>
                </a:cubicBezTo>
                <a:lnTo>
                  <a:pt x="1012508" y="127636"/>
                </a:lnTo>
                <a:cubicBezTo>
                  <a:pt x="1003221" y="110491"/>
                  <a:pt x="984825" y="97096"/>
                  <a:pt x="962546" y="96694"/>
                </a:cubicBezTo>
                <a:close/>
                <a:moveTo>
                  <a:pt x="1182052" y="57151"/>
                </a:moveTo>
                <a:cubicBezTo>
                  <a:pt x="1243012" y="52388"/>
                  <a:pt x="1296352" y="99061"/>
                  <a:pt x="1296352" y="165736"/>
                </a:cubicBezTo>
                <a:lnTo>
                  <a:pt x="1296352" y="266701"/>
                </a:lnTo>
                <a:lnTo>
                  <a:pt x="1255395" y="266701"/>
                </a:lnTo>
                <a:lnTo>
                  <a:pt x="1255395" y="235268"/>
                </a:lnTo>
                <a:cubicBezTo>
                  <a:pt x="1241107" y="258128"/>
                  <a:pt x="1211580" y="269558"/>
                  <a:pt x="1189672" y="269558"/>
                </a:cubicBezTo>
                <a:cubicBezTo>
                  <a:pt x="1128712" y="269558"/>
                  <a:pt x="1080135" y="218123"/>
                  <a:pt x="1083945" y="156211"/>
                </a:cubicBezTo>
                <a:cubicBezTo>
                  <a:pt x="1087755" y="103823"/>
                  <a:pt x="1129665" y="60961"/>
                  <a:pt x="1182052" y="57151"/>
                </a:cubicBezTo>
                <a:close/>
                <a:moveTo>
                  <a:pt x="957263" y="57151"/>
                </a:moveTo>
                <a:cubicBezTo>
                  <a:pt x="1023938" y="55246"/>
                  <a:pt x="1060133" y="110491"/>
                  <a:pt x="1065847" y="152401"/>
                </a:cubicBezTo>
                <a:lnTo>
                  <a:pt x="906780" y="196216"/>
                </a:lnTo>
                <a:cubicBezTo>
                  <a:pt x="917257" y="215266"/>
                  <a:pt x="943928" y="233363"/>
                  <a:pt x="972502" y="227648"/>
                </a:cubicBezTo>
                <a:cubicBezTo>
                  <a:pt x="992505" y="223838"/>
                  <a:pt x="1010602" y="209551"/>
                  <a:pt x="1018222" y="192406"/>
                </a:cubicBezTo>
                <a:lnTo>
                  <a:pt x="1059180" y="204788"/>
                </a:lnTo>
                <a:cubicBezTo>
                  <a:pt x="1042988" y="245746"/>
                  <a:pt x="1002030" y="270511"/>
                  <a:pt x="960120" y="270511"/>
                </a:cubicBezTo>
                <a:cubicBezTo>
                  <a:pt x="900113" y="270511"/>
                  <a:pt x="853440" y="221933"/>
                  <a:pt x="853440" y="164783"/>
                </a:cubicBezTo>
                <a:cubicBezTo>
                  <a:pt x="853440" y="101918"/>
                  <a:pt x="901065" y="59056"/>
                  <a:pt x="957263" y="57151"/>
                </a:cubicBezTo>
                <a:close/>
                <a:moveTo>
                  <a:pt x="606742" y="56198"/>
                </a:moveTo>
                <a:lnTo>
                  <a:pt x="606742" y="100013"/>
                </a:lnTo>
                <a:cubicBezTo>
                  <a:pt x="575310" y="101918"/>
                  <a:pt x="547688" y="120016"/>
                  <a:pt x="547688" y="165736"/>
                </a:cubicBezTo>
                <a:cubicBezTo>
                  <a:pt x="547688" y="203836"/>
                  <a:pt x="547688" y="202883"/>
                  <a:pt x="547688" y="265748"/>
                </a:cubicBezTo>
                <a:lnTo>
                  <a:pt x="501015" y="265748"/>
                </a:lnTo>
                <a:lnTo>
                  <a:pt x="501015" y="160021"/>
                </a:lnTo>
                <a:lnTo>
                  <a:pt x="501015" y="62866"/>
                </a:lnTo>
                <a:lnTo>
                  <a:pt x="546735" y="62866"/>
                </a:lnTo>
                <a:lnTo>
                  <a:pt x="546735" y="86678"/>
                </a:lnTo>
                <a:cubicBezTo>
                  <a:pt x="553403" y="76201"/>
                  <a:pt x="566738" y="56198"/>
                  <a:pt x="606742" y="56198"/>
                </a:cubicBezTo>
                <a:close/>
                <a:moveTo>
                  <a:pt x="367665" y="56198"/>
                </a:moveTo>
                <a:cubicBezTo>
                  <a:pt x="425768" y="56198"/>
                  <a:pt x="473393" y="103823"/>
                  <a:pt x="474345" y="162878"/>
                </a:cubicBezTo>
                <a:cubicBezTo>
                  <a:pt x="474345" y="221933"/>
                  <a:pt x="426720" y="269558"/>
                  <a:pt x="367665" y="269558"/>
                </a:cubicBezTo>
                <a:cubicBezTo>
                  <a:pt x="308610" y="269558"/>
                  <a:pt x="260985" y="221933"/>
                  <a:pt x="260985" y="162878"/>
                </a:cubicBezTo>
                <a:cubicBezTo>
                  <a:pt x="260985" y="103823"/>
                  <a:pt x="308610" y="56198"/>
                  <a:pt x="367665" y="56198"/>
                </a:cubicBezTo>
                <a:close/>
                <a:moveTo>
                  <a:pt x="0" y="20956"/>
                </a:moveTo>
                <a:lnTo>
                  <a:pt x="47625" y="20956"/>
                </a:lnTo>
                <a:lnTo>
                  <a:pt x="186690" y="184786"/>
                </a:lnTo>
                <a:lnTo>
                  <a:pt x="186690" y="20956"/>
                </a:lnTo>
                <a:lnTo>
                  <a:pt x="233363" y="20956"/>
                </a:lnTo>
                <a:lnTo>
                  <a:pt x="233363" y="266701"/>
                </a:lnTo>
                <a:lnTo>
                  <a:pt x="190500" y="266701"/>
                </a:lnTo>
                <a:lnTo>
                  <a:pt x="49530" y="101918"/>
                </a:lnTo>
                <a:lnTo>
                  <a:pt x="49530" y="265748"/>
                </a:lnTo>
                <a:lnTo>
                  <a:pt x="0" y="265748"/>
                </a:lnTo>
                <a:close/>
                <a:moveTo>
                  <a:pt x="781050" y="0"/>
                </a:moveTo>
                <a:lnTo>
                  <a:pt x="824865" y="0"/>
                </a:lnTo>
                <a:lnTo>
                  <a:pt x="824865" y="160973"/>
                </a:lnTo>
                <a:cubicBezTo>
                  <a:pt x="824865" y="161925"/>
                  <a:pt x="824865" y="161925"/>
                  <a:pt x="824865" y="162878"/>
                </a:cubicBezTo>
                <a:cubicBezTo>
                  <a:pt x="824865" y="163830"/>
                  <a:pt x="824865" y="163830"/>
                  <a:pt x="824865" y="164783"/>
                </a:cubicBezTo>
                <a:lnTo>
                  <a:pt x="824865" y="267653"/>
                </a:lnTo>
                <a:lnTo>
                  <a:pt x="783908" y="267653"/>
                </a:lnTo>
                <a:lnTo>
                  <a:pt x="783908" y="240030"/>
                </a:lnTo>
                <a:cubicBezTo>
                  <a:pt x="772478" y="260033"/>
                  <a:pt x="741045" y="270510"/>
                  <a:pt x="718185" y="270510"/>
                </a:cubicBezTo>
                <a:cubicBezTo>
                  <a:pt x="657225" y="270510"/>
                  <a:pt x="608648" y="219075"/>
                  <a:pt x="612458" y="157163"/>
                </a:cubicBezTo>
                <a:cubicBezTo>
                  <a:pt x="616268" y="104775"/>
                  <a:pt x="658178" y="61913"/>
                  <a:pt x="710565" y="58103"/>
                </a:cubicBezTo>
                <a:cubicBezTo>
                  <a:pt x="738188" y="55245"/>
                  <a:pt x="770573" y="66675"/>
                  <a:pt x="781050" y="80010"/>
                </a:cubicBezTo>
                <a:close/>
              </a:path>
            </a:pathLst>
          </a:custGeom>
          <a:solidFill>
            <a:srgbClr val="FFFF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472605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410C19B-0612-48C5-BAEB-8DC9E97E76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410C19B-0612-48C5-BAEB-8DC9E97E76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7" name="Pulse"/>
          <p:cNvGrpSpPr/>
          <p:nvPr userDrawn="1"/>
        </p:nvGrpSpPr>
        <p:grpSpPr>
          <a:xfrm>
            <a:off x="8751888" y="3030539"/>
            <a:ext cx="3446462" cy="3490913"/>
            <a:chOff x="8751888" y="3030538"/>
            <a:chExt cx="3446462" cy="3490913"/>
          </a:xfrm>
          <a:solidFill>
            <a:schemeClr val="accent1"/>
          </a:solidFill>
        </p:grpSpPr>
        <p:sp>
          <p:nvSpPr>
            <p:cNvPr id="38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39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40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41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42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43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1" y="1338264"/>
            <a:ext cx="7200000" cy="795474"/>
          </a:xfrm>
        </p:spPr>
        <p:txBody>
          <a:bodyPr vert="horz"/>
          <a:lstStyle>
            <a:lvl1pPr>
              <a:defRPr sz="29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1" y="2133606"/>
            <a:ext cx="7200000" cy="7200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b="1">
                <a:solidFill>
                  <a:schemeClr val="tx2"/>
                </a:solidFill>
              </a:defRPr>
            </a:lvl1pPr>
            <a:lvl2pPr marL="544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3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46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48001" y="3096000"/>
            <a:ext cx="1800225" cy="1260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900">
                <a:solidFill>
                  <a:schemeClr val="tx1"/>
                </a:solidFill>
              </a:defRPr>
            </a:lvl1pPr>
            <a:lvl2pPr marL="257165" indent="0">
              <a:buNone/>
              <a:defRPr sz="900">
                <a:solidFill>
                  <a:schemeClr val="bg1"/>
                </a:solidFill>
              </a:defRPr>
            </a:lvl2pPr>
            <a:lvl3pPr marL="514331" indent="0">
              <a:buNone/>
              <a:defRPr sz="900">
                <a:solidFill>
                  <a:schemeClr val="bg1"/>
                </a:solidFill>
              </a:defRPr>
            </a:lvl3pPr>
            <a:lvl4pPr marL="771497" indent="0">
              <a:buNone/>
              <a:defRPr sz="900">
                <a:solidFill>
                  <a:schemeClr val="bg1"/>
                </a:solidFill>
              </a:defRPr>
            </a:lvl4pPr>
            <a:lvl5pPr marL="1028662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Disclaimer text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713211" y="3096000"/>
            <a:ext cx="1800225" cy="1260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900">
                <a:solidFill>
                  <a:schemeClr val="tx1"/>
                </a:solidFill>
              </a:defRPr>
            </a:lvl1pPr>
            <a:lvl2pPr marL="257165" indent="0">
              <a:buNone/>
              <a:defRPr sz="900">
                <a:solidFill>
                  <a:schemeClr val="bg1"/>
                </a:solidFill>
              </a:defRPr>
            </a:lvl2pPr>
            <a:lvl3pPr marL="514331" indent="0">
              <a:buNone/>
              <a:defRPr sz="900">
                <a:solidFill>
                  <a:schemeClr val="bg1"/>
                </a:solidFill>
              </a:defRPr>
            </a:lvl3pPr>
            <a:lvl4pPr marL="771497" indent="0">
              <a:buNone/>
              <a:defRPr sz="900">
                <a:solidFill>
                  <a:schemeClr val="bg1"/>
                </a:solidFill>
              </a:defRPr>
            </a:lvl4pPr>
            <a:lvl5pPr marL="1028662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Disclaimer text</a:t>
            </a:r>
          </a:p>
        </p:txBody>
      </p:sp>
      <p:grpSp>
        <p:nvGrpSpPr>
          <p:cNvPr id="30" name="Logotype"/>
          <p:cNvGrpSpPr/>
          <p:nvPr userDrawn="1"/>
        </p:nvGrpSpPr>
        <p:grpSpPr>
          <a:xfrm>
            <a:off x="640801" y="532800"/>
            <a:ext cx="1384039" cy="288609"/>
            <a:chOff x="9501453" y="6148765"/>
            <a:chExt cx="2047875" cy="427037"/>
          </a:xfrm>
          <a:solidFill>
            <a:schemeClr val="bg2"/>
          </a:solidFill>
        </p:grpSpPr>
        <p:sp>
          <p:nvSpPr>
            <p:cNvPr id="31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2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3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4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5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6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</p:spTree>
    <p:extLst>
      <p:ext uri="{BB962C8B-B14F-4D97-AF65-F5344CB8AC3E}">
        <p14:creationId xmlns:p14="http://schemas.microsoft.com/office/powerpoint/2010/main" val="346921300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0B87C5F-D638-4BFA-8B71-57701A0B4E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0B87C5F-D638-4BFA-8B71-57701A0B4E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1" y="1339200"/>
            <a:ext cx="7200000" cy="795600"/>
          </a:xfrm>
        </p:spPr>
        <p:txBody>
          <a:bodyPr vert="horz"/>
          <a:lstStyle>
            <a:lvl1pPr>
              <a:defRPr sz="2900">
                <a:solidFill>
                  <a:srgbClr val="FBD9CA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1" y="2133606"/>
            <a:ext cx="7200000" cy="7200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b="1">
                <a:solidFill>
                  <a:srgbClr val="FFFFFF"/>
                </a:solidFill>
              </a:defRPr>
            </a:lvl1pPr>
            <a:lvl2pPr marL="544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3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46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48001" y="3096000"/>
            <a:ext cx="1800225" cy="1260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1pPr>
            <a:lvl2pPr marL="257165" indent="0">
              <a:buNone/>
              <a:defRPr sz="900">
                <a:solidFill>
                  <a:schemeClr val="bg1"/>
                </a:solidFill>
              </a:defRPr>
            </a:lvl2pPr>
            <a:lvl3pPr marL="514331" indent="0">
              <a:buNone/>
              <a:defRPr sz="900">
                <a:solidFill>
                  <a:schemeClr val="bg1"/>
                </a:solidFill>
              </a:defRPr>
            </a:lvl3pPr>
            <a:lvl4pPr marL="771497" indent="0">
              <a:buNone/>
              <a:defRPr sz="900">
                <a:solidFill>
                  <a:schemeClr val="bg1"/>
                </a:solidFill>
              </a:defRPr>
            </a:lvl4pPr>
            <a:lvl5pPr marL="1028662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Disclaimer text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713211" y="3096000"/>
            <a:ext cx="1800225" cy="1260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1pPr>
            <a:lvl2pPr marL="257165" indent="0">
              <a:buNone/>
              <a:defRPr sz="900">
                <a:solidFill>
                  <a:schemeClr val="bg1"/>
                </a:solidFill>
              </a:defRPr>
            </a:lvl2pPr>
            <a:lvl3pPr marL="514331" indent="0">
              <a:buNone/>
              <a:defRPr sz="900">
                <a:solidFill>
                  <a:schemeClr val="bg1"/>
                </a:solidFill>
              </a:defRPr>
            </a:lvl3pPr>
            <a:lvl4pPr marL="771497" indent="0">
              <a:buNone/>
              <a:defRPr sz="900">
                <a:solidFill>
                  <a:schemeClr val="bg1"/>
                </a:solidFill>
              </a:defRPr>
            </a:lvl4pPr>
            <a:lvl5pPr marL="1028662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Disclaimer text</a:t>
            </a:r>
          </a:p>
        </p:txBody>
      </p:sp>
      <p:grpSp>
        <p:nvGrpSpPr>
          <p:cNvPr id="16" name="Pulse"/>
          <p:cNvGrpSpPr/>
          <p:nvPr userDrawn="1"/>
        </p:nvGrpSpPr>
        <p:grpSpPr>
          <a:xfrm>
            <a:off x="8751888" y="3030539"/>
            <a:ext cx="3446462" cy="3490913"/>
            <a:chOff x="8751888" y="3030538"/>
            <a:chExt cx="3446462" cy="3490913"/>
          </a:xfrm>
          <a:solidFill>
            <a:srgbClr val="0000FF"/>
          </a:solidFill>
        </p:grpSpPr>
        <p:sp>
          <p:nvSpPr>
            <p:cNvPr id="17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24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25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26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27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28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</p:grpSp>
      <p:grpSp>
        <p:nvGrpSpPr>
          <p:cNvPr id="18" name="Logotype"/>
          <p:cNvGrpSpPr/>
          <p:nvPr userDrawn="1"/>
        </p:nvGrpSpPr>
        <p:grpSpPr>
          <a:xfrm>
            <a:off x="641351" y="530891"/>
            <a:ext cx="1384039" cy="288609"/>
            <a:chOff x="9501453" y="6148765"/>
            <a:chExt cx="2047875" cy="427037"/>
          </a:xfrm>
          <a:solidFill>
            <a:schemeClr val="bg1"/>
          </a:solidFill>
        </p:grpSpPr>
        <p:sp>
          <p:nvSpPr>
            <p:cNvPr id="19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0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1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2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3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9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</p:spTree>
    <p:extLst>
      <p:ext uri="{BB962C8B-B14F-4D97-AF65-F5344CB8AC3E}">
        <p14:creationId xmlns:p14="http://schemas.microsoft.com/office/powerpoint/2010/main" val="1721543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1339200"/>
            <a:ext cx="5436000" cy="2473200"/>
          </a:xfrm>
        </p:spPr>
        <p:txBody>
          <a:bodyPr>
            <a:noAutofit/>
          </a:bodyPr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4294800"/>
            <a:ext cx="5436000" cy="360083"/>
          </a:xfrm>
        </p:spPr>
        <p:txBody>
          <a:bodyPr>
            <a:noAutofit/>
          </a:bodyPr>
          <a:lstStyle>
            <a:lvl1pPr marL="0" indent="0" algn="l">
              <a:buNone/>
              <a:defRPr sz="1800" b="1">
                <a:solidFill>
                  <a:schemeClr val="accent1"/>
                </a:solidFill>
                <a:latin typeface="+mj-lt"/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773600"/>
            <a:ext cx="5436000" cy="2160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1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5025600"/>
            <a:ext cx="5436000" cy="2160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1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grpSp>
        <p:nvGrpSpPr>
          <p:cNvPr id="10" name="Pulse">
            <a:extLst>
              <a:ext uri="{FF2B5EF4-FFF2-40B4-BE49-F238E27FC236}">
                <a16:creationId xmlns:a16="http://schemas.microsoft.com/office/drawing/2014/main" id="{5E5D37B7-0D84-24B3-1D0F-520B0EC00344}"/>
              </a:ext>
            </a:extLst>
          </p:cNvPr>
          <p:cNvGrpSpPr/>
          <p:nvPr userDrawn="1"/>
        </p:nvGrpSpPr>
        <p:grpSpPr>
          <a:xfrm>
            <a:off x="6964846" y="941098"/>
            <a:ext cx="5232032" cy="5299513"/>
            <a:chOff x="8751888" y="3030538"/>
            <a:chExt cx="3446462" cy="3490913"/>
          </a:xfrm>
          <a:solidFill>
            <a:schemeClr val="bg2"/>
          </a:solidFill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A04FB1EB-FF6E-F6B7-8991-2A63FC2A15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29AF11C8-7F8F-F7C8-62A8-CCAF6B9D75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FB5136C4-3187-35EB-C589-E310B31785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257B1AA-DAD1-3C37-DE15-09A23C883A9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28A911A6-7D23-992A-499B-E8DFD0C4BE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2BFB7346-42D2-6E66-9653-1C8E1CB794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4" name="Logotype">
            <a:extLst>
              <a:ext uri="{FF2B5EF4-FFF2-40B4-BE49-F238E27FC236}">
                <a16:creationId xmlns:a16="http://schemas.microsoft.com/office/drawing/2014/main" id="{C2A71EDC-2551-EC09-7272-3FECA9FF063A}"/>
              </a:ext>
            </a:extLst>
          </p:cNvPr>
          <p:cNvSpPr>
            <a:spLocks noChangeAspect="1"/>
          </p:cNvSpPr>
          <p:nvPr userDrawn="1"/>
        </p:nvSpPr>
        <p:spPr>
          <a:xfrm>
            <a:off x="641350" y="530890"/>
            <a:ext cx="1386000" cy="450119"/>
          </a:xfrm>
          <a:custGeom>
            <a:avLst/>
            <a:gdLst>
              <a:gd name="connsiteX0" fmla="*/ 720090 w 1296352"/>
              <a:gd name="connsiteY0" fmla="*/ 368618 h 421005"/>
              <a:gd name="connsiteX1" fmla="*/ 711518 w 1296352"/>
              <a:gd name="connsiteY1" fmla="*/ 392431 h 421005"/>
              <a:gd name="connsiteX2" fmla="*/ 710565 w 1296352"/>
              <a:gd name="connsiteY2" fmla="*/ 394336 h 421005"/>
              <a:gd name="connsiteX3" fmla="*/ 729615 w 1296352"/>
              <a:gd name="connsiteY3" fmla="*/ 394336 h 421005"/>
              <a:gd name="connsiteX4" fmla="*/ 728663 w 1296352"/>
              <a:gd name="connsiteY4" fmla="*/ 392431 h 421005"/>
              <a:gd name="connsiteX5" fmla="*/ 720090 w 1296352"/>
              <a:gd name="connsiteY5" fmla="*/ 368618 h 421005"/>
              <a:gd name="connsiteX6" fmla="*/ 565785 w 1296352"/>
              <a:gd name="connsiteY6" fmla="*/ 368618 h 421005"/>
              <a:gd name="connsiteX7" fmla="*/ 557213 w 1296352"/>
              <a:gd name="connsiteY7" fmla="*/ 392431 h 421005"/>
              <a:gd name="connsiteX8" fmla="*/ 556260 w 1296352"/>
              <a:gd name="connsiteY8" fmla="*/ 394336 h 421005"/>
              <a:gd name="connsiteX9" fmla="*/ 575310 w 1296352"/>
              <a:gd name="connsiteY9" fmla="*/ 394336 h 421005"/>
              <a:gd name="connsiteX10" fmla="*/ 574357 w 1296352"/>
              <a:gd name="connsiteY10" fmla="*/ 392431 h 421005"/>
              <a:gd name="connsiteX11" fmla="*/ 565785 w 1296352"/>
              <a:gd name="connsiteY11" fmla="*/ 368618 h 421005"/>
              <a:gd name="connsiteX12" fmla="*/ 100012 w 1296352"/>
              <a:gd name="connsiteY12" fmla="*/ 368618 h 421005"/>
              <a:gd name="connsiteX13" fmla="*/ 91440 w 1296352"/>
              <a:gd name="connsiteY13" fmla="*/ 392431 h 421005"/>
              <a:gd name="connsiteX14" fmla="*/ 90487 w 1296352"/>
              <a:gd name="connsiteY14" fmla="*/ 394336 h 421005"/>
              <a:gd name="connsiteX15" fmla="*/ 109537 w 1296352"/>
              <a:gd name="connsiteY15" fmla="*/ 394336 h 421005"/>
              <a:gd name="connsiteX16" fmla="*/ 108585 w 1296352"/>
              <a:gd name="connsiteY16" fmla="*/ 392431 h 421005"/>
              <a:gd name="connsiteX17" fmla="*/ 100012 w 1296352"/>
              <a:gd name="connsiteY17" fmla="*/ 368618 h 421005"/>
              <a:gd name="connsiteX18" fmla="*/ 915353 w 1296352"/>
              <a:gd name="connsiteY18" fmla="*/ 356236 h 421005"/>
              <a:gd name="connsiteX19" fmla="*/ 933451 w 1296352"/>
              <a:gd name="connsiteY19" fmla="*/ 356236 h 421005"/>
              <a:gd name="connsiteX20" fmla="*/ 942976 w 1296352"/>
              <a:gd name="connsiteY20" fmla="*/ 381953 h 421005"/>
              <a:gd name="connsiteX21" fmla="*/ 950596 w 1296352"/>
              <a:gd name="connsiteY21" fmla="*/ 401956 h 421005"/>
              <a:gd name="connsiteX22" fmla="*/ 958215 w 1296352"/>
              <a:gd name="connsiteY22" fmla="*/ 381953 h 421005"/>
              <a:gd name="connsiteX23" fmla="*/ 967740 w 1296352"/>
              <a:gd name="connsiteY23" fmla="*/ 356236 h 421005"/>
              <a:gd name="connsiteX24" fmla="*/ 986790 w 1296352"/>
              <a:gd name="connsiteY24" fmla="*/ 356236 h 421005"/>
              <a:gd name="connsiteX25" fmla="*/ 986790 w 1296352"/>
              <a:gd name="connsiteY25" fmla="*/ 419101 h 421005"/>
              <a:gd name="connsiteX26" fmla="*/ 973455 w 1296352"/>
              <a:gd name="connsiteY26" fmla="*/ 419101 h 421005"/>
              <a:gd name="connsiteX27" fmla="*/ 973455 w 1296352"/>
              <a:gd name="connsiteY27" fmla="*/ 396241 h 421005"/>
              <a:gd name="connsiteX28" fmla="*/ 973455 w 1296352"/>
              <a:gd name="connsiteY28" fmla="*/ 370523 h 421005"/>
              <a:gd name="connsiteX29" fmla="*/ 963930 w 1296352"/>
              <a:gd name="connsiteY29" fmla="*/ 396241 h 421005"/>
              <a:gd name="connsiteX30" fmla="*/ 955358 w 1296352"/>
              <a:gd name="connsiteY30" fmla="*/ 419101 h 421005"/>
              <a:gd name="connsiteX31" fmla="*/ 945833 w 1296352"/>
              <a:gd name="connsiteY31" fmla="*/ 419101 h 421005"/>
              <a:gd name="connsiteX32" fmla="*/ 937260 w 1296352"/>
              <a:gd name="connsiteY32" fmla="*/ 396241 h 421005"/>
              <a:gd name="connsiteX33" fmla="*/ 927735 w 1296352"/>
              <a:gd name="connsiteY33" fmla="*/ 371476 h 421005"/>
              <a:gd name="connsiteX34" fmla="*/ 927735 w 1296352"/>
              <a:gd name="connsiteY34" fmla="*/ 397193 h 421005"/>
              <a:gd name="connsiteX35" fmla="*/ 927735 w 1296352"/>
              <a:gd name="connsiteY35" fmla="*/ 420053 h 421005"/>
              <a:gd name="connsiteX36" fmla="*/ 915353 w 1296352"/>
              <a:gd name="connsiteY36" fmla="*/ 420053 h 421005"/>
              <a:gd name="connsiteX37" fmla="*/ 445770 w 1296352"/>
              <a:gd name="connsiteY37" fmla="*/ 356236 h 421005"/>
              <a:gd name="connsiteX38" fmla="*/ 463868 w 1296352"/>
              <a:gd name="connsiteY38" fmla="*/ 356236 h 421005"/>
              <a:gd name="connsiteX39" fmla="*/ 473393 w 1296352"/>
              <a:gd name="connsiteY39" fmla="*/ 381953 h 421005"/>
              <a:gd name="connsiteX40" fmla="*/ 481013 w 1296352"/>
              <a:gd name="connsiteY40" fmla="*/ 401956 h 421005"/>
              <a:gd name="connsiteX41" fmla="*/ 488633 w 1296352"/>
              <a:gd name="connsiteY41" fmla="*/ 381953 h 421005"/>
              <a:gd name="connsiteX42" fmla="*/ 498158 w 1296352"/>
              <a:gd name="connsiteY42" fmla="*/ 356236 h 421005"/>
              <a:gd name="connsiteX43" fmla="*/ 516255 w 1296352"/>
              <a:gd name="connsiteY43" fmla="*/ 356236 h 421005"/>
              <a:gd name="connsiteX44" fmla="*/ 516255 w 1296352"/>
              <a:gd name="connsiteY44" fmla="*/ 419101 h 421005"/>
              <a:gd name="connsiteX45" fmla="*/ 502920 w 1296352"/>
              <a:gd name="connsiteY45" fmla="*/ 419101 h 421005"/>
              <a:gd name="connsiteX46" fmla="*/ 502920 w 1296352"/>
              <a:gd name="connsiteY46" fmla="*/ 396241 h 421005"/>
              <a:gd name="connsiteX47" fmla="*/ 502920 w 1296352"/>
              <a:gd name="connsiteY47" fmla="*/ 370523 h 421005"/>
              <a:gd name="connsiteX48" fmla="*/ 493395 w 1296352"/>
              <a:gd name="connsiteY48" fmla="*/ 396241 h 421005"/>
              <a:gd name="connsiteX49" fmla="*/ 484822 w 1296352"/>
              <a:gd name="connsiteY49" fmla="*/ 419101 h 421005"/>
              <a:gd name="connsiteX50" fmla="*/ 475297 w 1296352"/>
              <a:gd name="connsiteY50" fmla="*/ 419101 h 421005"/>
              <a:gd name="connsiteX51" fmla="*/ 467678 w 1296352"/>
              <a:gd name="connsiteY51" fmla="*/ 396241 h 421005"/>
              <a:gd name="connsiteX52" fmla="*/ 458153 w 1296352"/>
              <a:gd name="connsiteY52" fmla="*/ 371476 h 421005"/>
              <a:gd name="connsiteX53" fmla="*/ 458153 w 1296352"/>
              <a:gd name="connsiteY53" fmla="*/ 397193 h 421005"/>
              <a:gd name="connsiteX54" fmla="*/ 458153 w 1296352"/>
              <a:gd name="connsiteY54" fmla="*/ 420053 h 421005"/>
              <a:gd name="connsiteX55" fmla="*/ 445770 w 1296352"/>
              <a:gd name="connsiteY55" fmla="*/ 420053 h 421005"/>
              <a:gd name="connsiteX56" fmla="*/ 1158240 w 1296352"/>
              <a:gd name="connsiteY56" fmla="*/ 355283 h 421005"/>
              <a:gd name="connsiteX57" fmla="*/ 1208723 w 1296352"/>
              <a:gd name="connsiteY57" fmla="*/ 355283 h 421005"/>
              <a:gd name="connsiteX58" fmla="*/ 1208723 w 1296352"/>
              <a:gd name="connsiteY58" fmla="*/ 366713 h 421005"/>
              <a:gd name="connsiteX59" fmla="*/ 1189673 w 1296352"/>
              <a:gd name="connsiteY59" fmla="*/ 366713 h 421005"/>
              <a:gd name="connsiteX60" fmla="*/ 1189673 w 1296352"/>
              <a:gd name="connsiteY60" fmla="*/ 419101 h 421005"/>
              <a:gd name="connsiteX61" fmla="*/ 1176338 w 1296352"/>
              <a:gd name="connsiteY61" fmla="*/ 419101 h 421005"/>
              <a:gd name="connsiteX62" fmla="*/ 1176338 w 1296352"/>
              <a:gd name="connsiteY62" fmla="*/ 366713 h 421005"/>
              <a:gd name="connsiteX63" fmla="*/ 1158240 w 1296352"/>
              <a:gd name="connsiteY63" fmla="*/ 366713 h 421005"/>
              <a:gd name="connsiteX64" fmla="*/ 1084897 w 1296352"/>
              <a:gd name="connsiteY64" fmla="*/ 355283 h 421005"/>
              <a:gd name="connsiteX65" fmla="*/ 1099185 w 1296352"/>
              <a:gd name="connsiteY65" fmla="*/ 355283 h 421005"/>
              <a:gd name="connsiteX66" fmla="*/ 1113472 w 1296352"/>
              <a:gd name="connsiteY66" fmla="*/ 377191 h 421005"/>
              <a:gd name="connsiteX67" fmla="*/ 1125855 w 1296352"/>
              <a:gd name="connsiteY67" fmla="*/ 397193 h 421005"/>
              <a:gd name="connsiteX68" fmla="*/ 1125855 w 1296352"/>
              <a:gd name="connsiteY68" fmla="*/ 355283 h 421005"/>
              <a:gd name="connsiteX69" fmla="*/ 1138237 w 1296352"/>
              <a:gd name="connsiteY69" fmla="*/ 355283 h 421005"/>
              <a:gd name="connsiteX70" fmla="*/ 1138237 w 1296352"/>
              <a:gd name="connsiteY70" fmla="*/ 419101 h 421005"/>
              <a:gd name="connsiteX71" fmla="*/ 1126807 w 1296352"/>
              <a:gd name="connsiteY71" fmla="*/ 419101 h 421005"/>
              <a:gd name="connsiteX72" fmla="*/ 1111567 w 1296352"/>
              <a:gd name="connsiteY72" fmla="*/ 395288 h 421005"/>
              <a:gd name="connsiteX73" fmla="*/ 1097280 w 1296352"/>
              <a:gd name="connsiteY73" fmla="*/ 373381 h 421005"/>
              <a:gd name="connsiteX74" fmla="*/ 1097280 w 1296352"/>
              <a:gd name="connsiteY74" fmla="*/ 419101 h 421005"/>
              <a:gd name="connsiteX75" fmla="*/ 1084897 w 1296352"/>
              <a:gd name="connsiteY75" fmla="*/ 419101 h 421005"/>
              <a:gd name="connsiteX76" fmla="*/ 1013460 w 1296352"/>
              <a:gd name="connsiteY76" fmla="*/ 355283 h 421005"/>
              <a:gd name="connsiteX77" fmla="*/ 1057275 w 1296352"/>
              <a:gd name="connsiteY77" fmla="*/ 355283 h 421005"/>
              <a:gd name="connsiteX78" fmla="*/ 1057275 w 1296352"/>
              <a:gd name="connsiteY78" fmla="*/ 366713 h 421005"/>
              <a:gd name="connsiteX79" fmla="*/ 1026795 w 1296352"/>
              <a:gd name="connsiteY79" fmla="*/ 366713 h 421005"/>
              <a:gd name="connsiteX80" fmla="*/ 1026795 w 1296352"/>
              <a:gd name="connsiteY80" fmla="*/ 381001 h 421005"/>
              <a:gd name="connsiteX81" fmla="*/ 1054418 w 1296352"/>
              <a:gd name="connsiteY81" fmla="*/ 381001 h 421005"/>
              <a:gd name="connsiteX82" fmla="*/ 1054418 w 1296352"/>
              <a:gd name="connsiteY82" fmla="*/ 392431 h 421005"/>
              <a:gd name="connsiteX83" fmla="*/ 1026795 w 1296352"/>
              <a:gd name="connsiteY83" fmla="*/ 392431 h 421005"/>
              <a:gd name="connsiteX84" fmla="*/ 1026795 w 1296352"/>
              <a:gd name="connsiteY84" fmla="*/ 407671 h 421005"/>
              <a:gd name="connsiteX85" fmla="*/ 1058227 w 1296352"/>
              <a:gd name="connsiteY85" fmla="*/ 407671 h 421005"/>
              <a:gd name="connsiteX86" fmla="*/ 1058227 w 1296352"/>
              <a:gd name="connsiteY86" fmla="*/ 419101 h 421005"/>
              <a:gd name="connsiteX87" fmla="*/ 1013460 w 1296352"/>
              <a:gd name="connsiteY87" fmla="*/ 419101 h 421005"/>
              <a:gd name="connsiteX88" fmla="*/ 845820 w 1296352"/>
              <a:gd name="connsiteY88" fmla="*/ 355283 h 421005"/>
              <a:gd name="connsiteX89" fmla="*/ 889635 w 1296352"/>
              <a:gd name="connsiteY89" fmla="*/ 355283 h 421005"/>
              <a:gd name="connsiteX90" fmla="*/ 889635 w 1296352"/>
              <a:gd name="connsiteY90" fmla="*/ 366713 h 421005"/>
              <a:gd name="connsiteX91" fmla="*/ 859155 w 1296352"/>
              <a:gd name="connsiteY91" fmla="*/ 366713 h 421005"/>
              <a:gd name="connsiteX92" fmla="*/ 859155 w 1296352"/>
              <a:gd name="connsiteY92" fmla="*/ 381001 h 421005"/>
              <a:gd name="connsiteX93" fmla="*/ 886778 w 1296352"/>
              <a:gd name="connsiteY93" fmla="*/ 381001 h 421005"/>
              <a:gd name="connsiteX94" fmla="*/ 886778 w 1296352"/>
              <a:gd name="connsiteY94" fmla="*/ 392431 h 421005"/>
              <a:gd name="connsiteX95" fmla="*/ 859155 w 1296352"/>
              <a:gd name="connsiteY95" fmla="*/ 392431 h 421005"/>
              <a:gd name="connsiteX96" fmla="*/ 859155 w 1296352"/>
              <a:gd name="connsiteY96" fmla="*/ 407671 h 421005"/>
              <a:gd name="connsiteX97" fmla="*/ 890588 w 1296352"/>
              <a:gd name="connsiteY97" fmla="*/ 407671 h 421005"/>
              <a:gd name="connsiteX98" fmla="*/ 890588 w 1296352"/>
              <a:gd name="connsiteY98" fmla="*/ 419101 h 421005"/>
              <a:gd name="connsiteX99" fmla="*/ 845820 w 1296352"/>
              <a:gd name="connsiteY99" fmla="*/ 419101 h 421005"/>
              <a:gd name="connsiteX100" fmla="*/ 713423 w 1296352"/>
              <a:gd name="connsiteY100" fmla="*/ 355283 h 421005"/>
              <a:gd name="connsiteX101" fmla="*/ 729615 w 1296352"/>
              <a:gd name="connsiteY101" fmla="*/ 355283 h 421005"/>
              <a:gd name="connsiteX102" fmla="*/ 753428 w 1296352"/>
              <a:gd name="connsiteY102" fmla="*/ 419101 h 421005"/>
              <a:gd name="connsiteX103" fmla="*/ 739140 w 1296352"/>
              <a:gd name="connsiteY103" fmla="*/ 419101 h 421005"/>
              <a:gd name="connsiteX104" fmla="*/ 734378 w 1296352"/>
              <a:gd name="connsiteY104" fmla="*/ 405766 h 421005"/>
              <a:gd name="connsiteX105" fmla="*/ 707708 w 1296352"/>
              <a:gd name="connsiteY105" fmla="*/ 405766 h 421005"/>
              <a:gd name="connsiteX106" fmla="*/ 702945 w 1296352"/>
              <a:gd name="connsiteY106" fmla="*/ 419101 h 421005"/>
              <a:gd name="connsiteX107" fmla="*/ 689610 w 1296352"/>
              <a:gd name="connsiteY107" fmla="*/ 419101 h 421005"/>
              <a:gd name="connsiteX108" fmla="*/ 617220 w 1296352"/>
              <a:gd name="connsiteY108" fmla="*/ 355283 h 421005"/>
              <a:gd name="connsiteX109" fmla="*/ 631508 w 1296352"/>
              <a:gd name="connsiteY109" fmla="*/ 355283 h 421005"/>
              <a:gd name="connsiteX110" fmla="*/ 645795 w 1296352"/>
              <a:gd name="connsiteY110" fmla="*/ 377191 h 421005"/>
              <a:gd name="connsiteX111" fmla="*/ 658178 w 1296352"/>
              <a:gd name="connsiteY111" fmla="*/ 397193 h 421005"/>
              <a:gd name="connsiteX112" fmla="*/ 658178 w 1296352"/>
              <a:gd name="connsiteY112" fmla="*/ 355283 h 421005"/>
              <a:gd name="connsiteX113" fmla="*/ 670560 w 1296352"/>
              <a:gd name="connsiteY113" fmla="*/ 355283 h 421005"/>
              <a:gd name="connsiteX114" fmla="*/ 670560 w 1296352"/>
              <a:gd name="connsiteY114" fmla="*/ 419101 h 421005"/>
              <a:gd name="connsiteX115" fmla="*/ 659130 w 1296352"/>
              <a:gd name="connsiteY115" fmla="*/ 419101 h 421005"/>
              <a:gd name="connsiteX116" fmla="*/ 643890 w 1296352"/>
              <a:gd name="connsiteY116" fmla="*/ 395288 h 421005"/>
              <a:gd name="connsiteX117" fmla="*/ 629603 w 1296352"/>
              <a:gd name="connsiteY117" fmla="*/ 373381 h 421005"/>
              <a:gd name="connsiteX118" fmla="*/ 629603 w 1296352"/>
              <a:gd name="connsiteY118" fmla="*/ 419101 h 421005"/>
              <a:gd name="connsiteX119" fmla="*/ 617220 w 1296352"/>
              <a:gd name="connsiteY119" fmla="*/ 419101 h 421005"/>
              <a:gd name="connsiteX120" fmla="*/ 559118 w 1296352"/>
              <a:gd name="connsiteY120" fmla="*/ 355283 h 421005"/>
              <a:gd name="connsiteX121" fmla="*/ 575310 w 1296352"/>
              <a:gd name="connsiteY121" fmla="*/ 355283 h 421005"/>
              <a:gd name="connsiteX122" fmla="*/ 599122 w 1296352"/>
              <a:gd name="connsiteY122" fmla="*/ 419101 h 421005"/>
              <a:gd name="connsiteX123" fmla="*/ 584835 w 1296352"/>
              <a:gd name="connsiteY123" fmla="*/ 419101 h 421005"/>
              <a:gd name="connsiteX124" fmla="*/ 580072 w 1296352"/>
              <a:gd name="connsiteY124" fmla="*/ 405766 h 421005"/>
              <a:gd name="connsiteX125" fmla="*/ 553403 w 1296352"/>
              <a:gd name="connsiteY125" fmla="*/ 405766 h 421005"/>
              <a:gd name="connsiteX126" fmla="*/ 548640 w 1296352"/>
              <a:gd name="connsiteY126" fmla="*/ 419101 h 421005"/>
              <a:gd name="connsiteX127" fmla="*/ 535305 w 1296352"/>
              <a:gd name="connsiteY127" fmla="*/ 419101 h 421005"/>
              <a:gd name="connsiteX128" fmla="*/ 338137 w 1296352"/>
              <a:gd name="connsiteY128" fmla="*/ 355283 h 421005"/>
              <a:gd name="connsiteX129" fmla="*/ 388619 w 1296352"/>
              <a:gd name="connsiteY129" fmla="*/ 355283 h 421005"/>
              <a:gd name="connsiteX130" fmla="*/ 388619 w 1296352"/>
              <a:gd name="connsiteY130" fmla="*/ 366713 h 421005"/>
              <a:gd name="connsiteX131" fmla="*/ 369569 w 1296352"/>
              <a:gd name="connsiteY131" fmla="*/ 366713 h 421005"/>
              <a:gd name="connsiteX132" fmla="*/ 369569 w 1296352"/>
              <a:gd name="connsiteY132" fmla="*/ 419101 h 421005"/>
              <a:gd name="connsiteX133" fmla="*/ 356234 w 1296352"/>
              <a:gd name="connsiteY133" fmla="*/ 419101 h 421005"/>
              <a:gd name="connsiteX134" fmla="*/ 356234 w 1296352"/>
              <a:gd name="connsiteY134" fmla="*/ 366713 h 421005"/>
              <a:gd name="connsiteX135" fmla="*/ 338137 w 1296352"/>
              <a:gd name="connsiteY135" fmla="*/ 366713 h 421005"/>
              <a:gd name="connsiteX136" fmla="*/ 274320 w 1296352"/>
              <a:gd name="connsiteY136" fmla="*/ 355283 h 421005"/>
              <a:gd name="connsiteX137" fmla="*/ 318135 w 1296352"/>
              <a:gd name="connsiteY137" fmla="*/ 355283 h 421005"/>
              <a:gd name="connsiteX138" fmla="*/ 318135 w 1296352"/>
              <a:gd name="connsiteY138" fmla="*/ 366713 h 421005"/>
              <a:gd name="connsiteX139" fmla="*/ 287655 w 1296352"/>
              <a:gd name="connsiteY139" fmla="*/ 366713 h 421005"/>
              <a:gd name="connsiteX140" fmla="*/ 287655 w 1296352"/>
              <a:gd name="connsiteY140" fmla="*/ 381001 h 421005"/>
              <a:gd name="connsiteX141" fmla="*/ 315278 w 1296352"/>
              <a:gd name="connsiteY141" fmla="*/ 381001 h 421005"/>
              <a:gd name="connsiteX142" fmla="*/ 315278 w 1296352"/>
              <a:gd name="connsiteY142" fmla="*/ 392431 h 421005"/>
              <a:gd name="connsiteX143" fmla="*/ 287655 w 1296352"/>
              <a:gd name="connsiteY143" fmla="*/ 392431 h 421005"/>
              <a:gd name="connsiteX144" fmla="*/ 287655 w 1296352"/>
              <a:gd name="connsiteY144" fmla="*/ 407671 h 421005"/>
              <a:gd name="connsiteX145" fmla="*/ 319088 w 1296352"/>
              <a:gd name="connsiteY145" fmla="*/ 407671 h 421005"/>
              <a:gd name="connsiteX146" fmla="*/ 319088 w 1296352"/>
              <a:gd name="connsiteY146" fmla="*/ 419101 h 421005"/>
              <a:gd name="connsiteX147" fmla="*/ 274320 w 1296352"/>
              <a:gd name="connsiteY147" fmla="*/ 419101 h 421005"/>
              <a:gd name="connsiteX148" fmla="*/ 92393 w 1296352"/>
              <a:gd name="connsiteY148" fmla="*/ 355283 h 421005"/>
              <a:gd name="connsiteX149" fmla="*/ 108585 w 1296352"/>
              <a:gd name="connsiteY149" fmla="*/ 355283 h 421005"/>
              <a:gd name="connsiteX150" fmla="*/ 132398 w 1296352"/>
              <a:gd name="connsiteY150" fmla="*/ 419101 h 421005"/>
              <a:gd name="connsiteX151" fmla="*/ 118110 w 1296352"/>
              <a:gd name="connsiteY151" fmla="*/ 419101 h 421005"/>
              <a:gd name="connsiteX152" fmla="*/ 113348 w 1296352"/>
              <a:gd name="connsiteY152" fmla="*/ 405766 h 421005"/>
              <a:gd name="connsiteX153" fmla="*/ 86678 w 1296352"/>
              <a:gd name="connsiteY153" fmla="*/ 405766 h 421005"/>
              <a:gd name="connsiteX154" fmla="*/ 81915 w 1296352"/>
              <a:gd name="connsiteY154" fmla="*/ 419101 h 421005"/>
              <a:gd name="connsiteX155" fmla="*/ 68580 w 1296352"/>
              <a:gd name="connsiteY155" fmla="*/ 419101 h 421005"/>
              <a:gd name="connsiteX156" fmla="*/ 797242 w 1296352"/>
              <a:gd name="connsiteY156" fmla="*/ 354330 h 421005"/>
              <a:gd name="connsiteX157" fmla="*/ 818197 w 1296352"/>
              <a:gd name="connsiteY157" fmla="*/ 360998 h 421005"/>
              <a:gd name="connsiteX158" fmla="*/ 810577 w 1296352"/>
              <a:gd name="connsiteY158" fmla="*/ 370523 h 421005"/>
              <a:gd name="connsiteX159" fmla="*/ 796290 w 1296352"/>
              <a:gd name="connsiteY159" fmla="*/ 365760 h 421005"/>
              <a:gd name="connsiteX160" fmla="*/ 778192 w 1296352"/>
              <a:gd name="connsiteY160" fmla="*/ 386715 h 421005"/>
              <a:gd name="connsiteX161" fmla="*/ 796290 w 1296352"/>
              <a:gd name="connsiteY161" fmla="*/ 408623 h 421005"/>
              <a:gd name="connsiteX162" fmla="*/ 806767 w 1296352"/>
              <a:gd name="connsiteY162" fmla="*/ 405765 h 421005"/>
              <a:gd name="connsiteX163" fmla="*/ 806767 w 1296352"/>
              <a:gd name="connsiteY163" fmla="*/ 393382 h 421005"/>
              <a:gd name="connsiteX164" fmla="*/ 792480 w 1296352"/>
              <a:gd name="connsiteY164" fmla="*/ 393382 h 421005"/>
              <a:gd name="connsiteX165" fmla="*/ 792480 w 1296352"/>
              <a:gd name="connsiteY165" fmla="*/ 381953 h 421005"/>
              <a:gd name="connsiteX166" fmla="*/ 820102 w 1296352"/>
              <a:gd name="connsiteY166" fmla="*/ 381953 h 421005"/>
              <a:gd name="connsiteX167" fmla="*/ 820102 w 1296352"/>
              <a:gd name="connsiteY167" fmla="*/ 382905 h 421005"/>
              <a:gd name="connsiteX168" fmla="*/ 820102 w 1296352"/>
              <a:gd name="connsiteY168" fmla="*/ 411480 h 421005"/>
              <a:gd name="connsiteX169" fmla="*/ 796290 w 1296352"/>
              <a:gd name="connsiteY169" fmla="*/ 421005 h 421005"/>
              <a:gd name="connsiteX170" fmla="*/ 764857 w 1296352"/>
              <a:gd name="connsiteY170" fmla="*/ 387668 h 421005"/>
              <a:gd name="connsiteX171" fmla="*/ 797242 w 1296352"/>
              <a:gd name="connsiteY171" fmla="*/ 354330 h 421005"/>
              <a:gd name="connsiteX172" fmla="*/ 232411 w 1296352"/>
              <a:gd name="connsiteY172" fmla="*/ 354330 h 421005"/>
              <a:gd name="connsiteX173" fmla="*/ 253366 w 1296352"/>
              <a:gd name="connsiteY173" fmla="*/ 360998 h 421005"/>
              <a:gd name="connsiteX174" fmla="*/ 246698 w 1296352"/>
              <a:gd name="connsiteY174" fmla="*/ 370523 h 421005"/>
              <a:gd name="connsiteX175" fmla="*/ 231458 w 1296352"/>
              <a:gd name="connsiteY175" fmla="*/ 365760 h 421005"/>
              <a:gd name="connsiteX176" fmla="*/ 220981 w 1296352"/>
              <a:gd name="connsiteY176" fmla="*/ 372428 h 421005"/>
              <a:gd name="connsiteX177" fmla="*/ 234316 w 1296352"/>
              <a:gd name="connsiteY177" fmla="*/ 381000 h 421005"/>
              <a:gd name="connsiteX178" fmla="*/ 254318 w 1296352"/>
              <a:gd name="connsiteY178" fmla="*/ 400050 h 421005"/>
              <a:gd name="connsiteX179" fmla="*/ 230506 w 1296352"/>
              <a:gd name="connsiteY179" fmla="*/ 420053 h 421005"/>
              <a:gd name="connsiteX180" fmla="*/ 206693 w 1296352"/>
              <a:gd name="connsiteY180" fmla="*/ 411480 h 421005"/>
              <a:gd name="connsiteX181" fmla="*/ 213361 w 1296352"/>
              <a:gd name="connsiteY181" fmla="*/ 401955 h 421005"/>
              <a:gd name="connsiteX182" fmla="*/ 231458 w 1296352"/>
              <a:gd name="connsiteY182" fmla="*/ 408623 h 421005"/>
              <a:gd name="connsiteX183" fmla="*/ 241936 w 1296352"/>
              <a:gd name="connsiteY183" fmla="*/ 401003 h 421005"/>
              <a:gd name="connsiteX184" fmla="*/ 229553 w 1296352"/>
              <a:gd name="connsiteY184" fmla="*/ 392430 h 421005"/>
              <a:gd name="connsiteX185" fmla="*/ 208598 w 1296352"/>
              <a:gd name="connsiteY185" fmla="*/ 373380 h 421005"/>
              <a:gd name="connsiteX186" fmla="*/ 232411 w 1296352"/>
              <a:gd name="connsiteY186" fmla="*/ 354330 h 421005"/>
              <a:gd name="connsiteX187" fmla="*/ 169545 w 1296352"/>
              <a:gd name="connsiteY187" fmla="*/ 354330 h 421005"/>
              <a:gd name="connsiteX188" fmla="*/ 190500 w 1296352"/>
              <a:gd name="connsiteY188" fmla="*/ 360998 h 421005"/>
              <a:gd name="connsiteX189" fmla="*/ 183833 w 1296352"/>
              <a:gd name="connsiteY189" fmla="*/ 370523 h 421005"/>
              <a:gd name="connsiteX190" fmla="*/ 168593 w 1296352"/>
              <a:gd name="connsiteY190" fmla="*/ 365760 h 421005"/>
              <a:gd name="connsiteX191" fmla="*/ 158116 w 1296352"/>
              <a:gd name="connsiteY191" fmla="*/ 372428 h 421005"/>
              <a:gd name="connsiteX192" fmla="*/ 171450 w 1296352"/>
              <a:gd name="connsiteY192" fmla="*/ 381000 h 421005"/>
              <a:gd name="connsiteX193" fmla="*/ 191453 w 1296352"/>
              <a:gd name="connsiteY193" fmla="*/ 400050 h 421005"/>
              <a:gd name="connsiteX194" fmla="*/ 167641 w 1296352"/>
              <a:gd name="connsiteY194" fmla="*/ 420053 h 421005"/>
              <a:gd name="connsiteX195" fmla="*/ 143828 w 1296352"/>
              <a:gd name="connsiteY195" fmla="*/ 411480 h 421005"/>
              <a:gd name="connsiteX196" fmla="*/ 150495 w 1296352"/>
              <a:gd name="connsiteY196" fmla="*/ 401955 h 421005"/>
              <a:gd name="connsiteX197" fmla="*/ 168593 w 1296352"/>
              <a:gd name="connsiteY197" fmla="*/ 408623 h 421005"/>
              <a:gd name="connsiteX198" fmla="*/ 179070 w 1296352"/>
              <a:gd name="connsiteY198" fmla="*/ 401003 h 421005"/>
              <a:gd name="connsiteX199" fmla="*/ 166688 w 1296352"/>
              <a:gd name="connsiteY199" fmla="*/ 392430 h 421005"/>
              <a:gd name="connsiteX200" fmla="*/ 145733 w 1296352"/>
              <a:gd name="connsiteY200" fmla="*/ 373380 h 421005"/>
              <a:gd name="connsiteX201" fmla="*/ 169545 w 1296352"/>
              <a:gd name="connsiteY201" fmla="*/ 354330 h 421005"/>
              <a:gd name="connsiteX202" fmla="*/ 367665 w 1296352"/>
              <a:gd name="connsiteY202" fmla="*/ 101918 h 421005"/>
              <a:gd name="connsiteX203" fmla="*/ 306705 w 1296352"/>
              <a:gd name="connsiteY203" fmla="*/ 162878 h 421005"/>
              <a:gd name="connsiteX204" fmla="*/ 367665 w 1296352"/>
              <a:gd name="connsiteY204" fmla="*/ 223838 h 421005"/>
              <a:gd name="connsiteX205" fmla="*/ 428625 w 1296352"/>
              <a:gd name="connsiteY205" fmla="*/ 162878 h 421005"/>
              <a:gd name="connsiteX206" fmla="*/ 367665 w 1296352"/>
              <a:gd name="connsiteY206" fmla="*/ 101918 h 421005"/>
              <a:gd name="connsiteX207" fmla="*/ 1190625 w 1296352"/>
              <a:gd name="connsiteY207" fmla="*/ 100966 h 421005"/>
              <a:gd name="connsiteX208" fmla="*/ 1129665 w 1296352"/>
              <a:gd name="connsiteY208" fmla="*/ 169546 h 421005"/>
              <a:gd name="connsiteX209" fmla="*/ 1183005 w 1296352"/>
              <a:gd name="connsiteY209" fmla="*/ 222886 h 421005"/>
              <a:gd name="connsiteX210" fmla="*/ 1251585 w 1296352"/>
              <a:gd name="connsiteY210" fmla="*/ 165736 h 421005"/>
              <a:gd name="connsiteX211" fmla="*/ 1251585 w 1296352"/>
              <a:gd name="connsiteY211" fmla="*/ 159068 h 421005"/>
              <a:gd name="connsiteX212" fmla="*/ 1190625 w 1296352"/>
              <a:gd name="connsiteY212" fmla="*/ 100966 h 421005"/>
              <a:gd name="connsiteX213" fmla="*/ 718185 w 1296352"/>
              <a:gd name="connsiteY213" fmla="*/ 100965 h 421005"/>
              <a:gd name="connsiteX214" fmla="*/ 657225 w 1296352"/>
              <a:gd name="connsiteY214" fmla="*/ 169545 h 421005"/>
              <a:gd name="connsiteX215" fmla="*/ 710565 w 1296352"/>
              <a:gd name="connsiteY215" fmla="*/ 222885 h 421005"/>
              <a:gd name="connsiteX216" fmla="*/ 779145 w 1296352"/>
              <a:gd name="connsiteY216" fmla="*/ 165735 h 421005"/>
              <a:gd name="connsiteX217" fmla="*/ 779145 w 1296352"/>
              <a:gd name="connsiteY217" fmla="*/ 159067 h 421005"/>
              <a:gd name="connsiteX218" fmla="*/ 718185 w 1296352"/>
              <a:gd name="connsiteY218" fmla="*/ 100965 h 421005"/>
              <a:gd name="connsiteX219" fmla="*/ 962546 w 1296352"/>
              <a:gd name="connsiteY219" fmla="*/ 96694 h 421005"/>
              <a:gd name="connsiteX220" fmla="*/ 939165 w 1296352"/>
              <a:gd name="connsiteY220" fmla="*/ 100966 h 421005"/>
              <a:gd name="connsiteX221" fmla="*/ 897255 w 1296352"/>
              <a:gd name="connsiteY221" fmla="*/ 159068 h 421005"/>
              <a:gd name="connsiteX222" fmla="*/ 1012508 w 1296352"/>
              <a:gd name="connsiteY222" fmla="*/ 127636 h 421005"/>
              <a:gd name="connsiteX223" fmla="*/ 962546 w 1296352"/>
              <a:gd name="connsiteY223" fmla="*/ 96694 h 421005"/>
              <a:gd name="connsiteX224" fmla="*/ 1182052 w 1296352"/>
              <a:gd name="connsiteY224" fmla="*/ 57151 h 421005"/>
              <a:gd name="connsiteX225" fmla="*/ 1296352 w 1296352"/>
              <a:gd name="connsiteY225" fmla="*/ 165736 h 421005"/>
              <a:gd name="connsiteX226" fmla="*/ 1296352 w 1296352"/>
              <a:gd name="connsiteY226" fmla="*/ 266701 h 421005"/>
              <a:gd name="connsiteX227" fmla="*/ 1255395 w 1296352"/>
              <a:gd name="connsiteY227" fmla="*/ 266701 h 421005"/>
              <a:gd name="connsiteX228" fmla="*/ 1255395 w 1296352"/>
              <a:gd name="connsiteY228" fmla="*/ 235268 h 421005"/>
              <a:gd name="connsiteX229" fmla="*/ 1189672 w 1296352"/>
              <a:gd name="connsiteY229" fmla="*/ 269558 h 421005"/>
              <a:gd name="connsiteX230" fmla="*/ 1083945 w 1296352"/>
              <a:gd name="connsiteY230" fmla="*/ 156211 h 421005"/>
              <a:gd name="connsiteX231" fmla="*/ 1182052 w 1296352"/>
              <a:gd name="connsiteY231" fmla="*/ 57151 h 421005"/>
              <a:gd name="connsiteX232" fmla="*/ 957263 w 1296352"/>
              <a:gd name="connsiteY232" fmla="*/ 57151 h 421005"/>
              <a:gd name="connsiteX233" fmla="*/ 1065847 w 1296352"/>
              <a:gd name="connsiteY233" fmla="*/ 152401 h 421005"/>
              <a:gd name="connsiteX234" fmla="*/ 906780 w 1296352"/>
              <a:gd name="connsiteY234" fmla="*/ 196216 h 421005"/>
              <a:gd name="connsiteX235" fmla="*/ 972502 w 1296352"/>
              <a:gd name="connsiteY235" fmla="*/ 227648 h 421005"/>
              <a:gd name="connsiteX236" fmla="*/ 1018222 w 1296352"/>
              <a:gd name="connsiteY236" fmla="*/ 192406 h 421005"/>
              <a:gd name="connsiteX237" fmla="*/ 1059180 w 1296352"/>
              <a:gd name="connsiteY237" fmla="*/ 204788 h 421005"/>
              <a:gd name="connsiteX238" fmla="*/ 960120 w 1296352"/>
              <a:gd name="connsiteY238" fmla="*/ 270511 h 421005"/>
              <a:gd name="connsiteX239" fmla="*/ 853440 w 1296352"/>
              <a:gd name="connsiteY239" fmla="*/ 164783 h 421005"/>
              <a:gd name="connsiteX240" fmla="*/ 957263 w 1296352"/>
              <a:gd name="connsiteY240" fmla="*/ 57151 h 421005"/>
              <a:gd name="connsiteX241" fmla="*/ 606742 w 1296352"/>
              <a:gd name="connsiteY241" fmla="*/ 56198 h 421005"/>
              <a:gd name="connsiteX242" fmla="*/ 606742 w 1296352"/>
              <a:gd name="connsiteY242" fmla="*/ 100013 h 421005"/>
              <a:gd name="connsiteX243" fmla="*/ 547688 w 1296352"/>
              <a:gd name="connsiteY243" fmla="*/ 165736 h 421005"/>
              <a:gd name="connsiteX244" fmla="*/ 547688 w 1296352"/>
              <a:gd name="connsiteY244" fmla="*/ 265748 h 421005"/>
              <a:gd name="connsiteX245" fmla="*/ 501015 w 1296352"/>
              <a:gd name="connsiteY245" fmla="*/ 265748 h 421005"/>
              <a:gd name="connsiteX246" fmla="*/ 501015 w 1296352"/>
              <a:gd name="connsiteY246" fmla="*/ 160021 h 421005"/>
              <a:gd name="connsiteX247" fmla="*/ 501015 w 1296352"/>
              <a:gd name="connsiteY247" fmla="*/ 62866 h 421005"/>
              <a:gd name="connsiteX248" fmla="*/ 546735 w 1296352"/>
              <a:gd name="connsiteY248" fmla="*/ 62866 h 421005"/>
              <a:gd name="connsiteX249" fmla="*/ 546735 w 1296352"/>
              <a:gd name="connsiteY249" fmla="*/ 86678 h 421005"/>
              <a:gd name="connsiteX250" fmla="*/ 606742 w 1296352"/>
              <a:gd name="connsiteY250" fmla="*/ 56198 h 421005"/>
              <a:gd name="connsiteX251" fmla="*/ 367665 w 1296352"/>
              <a:gd name="connsiteY251" fmla="*/ 56198 h 421005"/>
              <a:gd name="connsiteX252" fmla="*/ 474345 w 1296352"/>
              <a:gd name="connsiteY252" fmla="*/ 162878 h 421005"/>
              <a:gd name="connsiteX253" fmla="*/ 367665 w 1296352"/>
              <a:gd name="connsiteY253" fmla="*/ 269558 h 421005"/>
              <a:gd name="connsiteX254" fmla="*/ 260985 w 1296352"/>
              <a:gd name="connsiteY254" fmla="*/ 162878 h 421005"/>
              <a:gd name="connsiteX255" fmla="*/ 367665 w 1296352"/>
              <a:gd name="connsiteY255" fmla="*/ 56198 h 421005"/>
              <a:gd name="connsiteX256" fmla="*/ 0 w 1296352"/>
              <a:gd name="connsiteY256" fmla="*/ 20956 h 421005"/>
              <a:gd name="connsiteX257" fmla="*/ 47625 w 1296352"/>
              <a:gd name="connsiteY257" fmla="*/ 20956 h 421005"/>
              <a:gd name="connsiteX258" fmla="*/ 186690 w 1296352"/>
              <a:gd name="connsiteY258" fmla="*/ 184786 h 421005"/>
              <a:gd name="connsiteX259" fmla="*/ 186690 w 1296352"/>
              <a:gd name="connsiteY259" fmla="*/ 20956 h 421005"/>
              <a:gd name="connsiteX260" fmla="*/ 233363 w 1296352"/>
              <a:gd name="connsiteY260" fmla="*/ 20956 h 421005"/>
              <a:gd name="connsiteX261" fmla="*/ 233363 w 1296352"/>
              <a:gd name="connsiteY261" fmla="*/ 266701 h 421005"/>
              <a:gd name="connsiteX262" fmla="*/ 190500 w 1296352"/>
              <a:gd name="connsiteY262" fmla="*/ 266701 h 421005"/>
              <a:gd name="connsiteX263" fmla="*/ 49530 w 1296352"/>
              <a:gd name="connsiteY263" fmla="*/ 101918 h 421005"/>
              <a:gd name="connsiteX264" fmla="*/ 49530 w 1296352"/>
              <a:gd name="connsiteY264" fmla="*/ 265748 h 421005"/>
              <a:gd name="connsiteX265" fmla="*/ 0 w 1296352"/>
              <a:gd name="connsiteY265" fmla="*/ 265748 h 421005"/>
              <a:gd name="connsiteX266" fmla="*/ 781050 w 1296352"/>
              <a:gd name="connsiteY266" fmla="*/ 0 h 421005"/>
              <a:gd name="connsiteX267" fmla="*/ 824865 w 1296352"/>
              <a:gd name="connsiteY267" fmla="*/ 0 h 421005"/>
              <a:gd name="connsiteX268" fmla="*/ 824865 w 1296352"/>
              <a:gd name="connsiteY268" fmla="*/ 160973 h 421005"/>
              <a:gd name="connsiteX269" fmla="*/ 824865 w 1296352"/>
              <a:gd name="connsiteY269" fmla="*/ 162878 h 421005"/>
              <a:gd name="connsiteX270" fmla="*/ 824865 w 1296352"/>
              <a:gd name="connsiteY270" fmla="*/ 164783 h 421005"/>
              <a:gd name="connsiteX271" fmla="*/ 824865 w 1296352"/>
              <a:gd name="connsiteY271" fmla="*/ 267653 h 421005"/>
              <a:gd name="connsiteX272" fmla="*/ 783908 w 1296352"/>
              <a:gd name="connsiteY272" fmla="*/ 267653 h 421005"/>
              <a:gd name="connsiteX273" fmla="*/ 783908 w 1296352"/>
              <a:gd name="connsiteY273" fmla="*/ 240030 h 421005"/>
              <a:gd name="connsiteX274" fmla="*/ 718185 w 1296352"/>
              <a:gd name="connsiteY274" fmla="*/ 270510 h 421005"/>
              <a:gd name="connsiteX275" fmla="*/ 612458 w 1296352"/>
              <a:gd name="connsiteY275" fmla="*/ 157163 h 421005"/>
              <a:gd name="connsiteX276" fmla="*/ 710565 w 1296352"/>
              <a:gd name="connsiteY276" fmla="*/ 58103 h 421005"/>
              <a:gd name="connsiteX277" fmla="*/ 781050 w 1296352"/>
              <a:gd name="connsiteY277" fmla="*/ 80010 h 42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</a:cxnLst>
            <a:rect l="l" t="t" r="r" b="b"/>
            <a:pathLst>
              <a:path w="1296352" h="421005">
                <a:moveTo>
                  <a:pt x="720090" y="368618"/>
                </a:moveTo>
                <a:cubicBezTo>
                  <a:pt x="717233" y="376238"/>
                  <a:pt x="714375" y="384811"/>
                  <a:pt x="711518" y="392431"/>
                </a:cubicBezTo>
                <a:lnTo>
                  <a:pt x="710565" y="394336"/>
                </a:lnTo>
                <a:lnTo>
                  <a:pt x="729615" y="394336"/>
                </a:lnTo>
                <a:lnTo>
                  <a:pt x="728663" y="392431"/>
                </a:lnTo>
                <a:cubicBezTo>
                  <a:pt x="725805" y="384811"/>
                  <a:pt x="722948" y="376238"/>
                  <a:pt x="720090" y="368618"/>
                </a:cubicBezTo>
                <a:close/>
                <a:moveTo>
                  <a:pt x="565785" y="368618"/>
                </a:moveTo>
                <a:cubicBezTo>
                  <a:pt x="562928" y="376238"/>
                  <a:pt x="560070" y="384811"/>
                  <a:pt x="557213" y="392431"/>
                </a:cubicBezTo>
                <a:lnTo>
                  <a:pt x="556260" y="394336"/>
                </a:lnTo>
                <a:lnTo>
                  <a:pt x="575310" y="394336"/>
                </a:lnTo>
                <a:lnTo>
                  <a:pt x="574357" y="392431"/>
                </a:lnTo>
                <a:cubicBezTo>
                  <a:pt x="571500" y="384811"/>
                  <a:pt x="568643" y="376238"/>
                  <a:pt x="565785" y="368618"/>
                </a:cubicBezTo>
                <a:close/>
                <a:moveTo>
                  <a:pt x="100012" y="368618"/>
                </a:moveTo>
                <a:cubicBezTo>
                  <a:pt x="97155" y="376238"/>
                  <a:pt x="94298" y="384811"/>
                  <a:pt x="91440" y="392431"/>
                </a:cubicBezTo>
                <a:lnTo>
                  <a:pt x="90487" y="394336"/>
                </a:lnTo>
                <a:lnTo>
                  <a:pt x="109537" y="394336"/>
                </a:lnTo>
                <a:lnTo>
                  <a:pt x="108585" y="392431"/>
                </a:lnTo>
                <a:cubicBezTo>
                  <a:pt x="105728" y="384811"/>
                  <a:pt x="102870" y="376238"/>
                  <a:pt x="100012" y="368618"/>
                </a:cubicBezTo>
                <a:close/>
                <a:moveTo>
                  <a:pt x="915353" y="356236"/>
                </a:moveTo>
                <a:lnTo>
                  <a:pt x="933451" y="356236"/>
                </a:lnTo>
                <a:lnTo>
                  <a:pt x="942976" y="381953"/>
                </a:lnTo>
                <a:cubicBezTo>
                  <a:pt x="945833" y="388621"/>
                  <a:pt x="947738" y="395288"/>
                  <a:pt x="950596" y="401956"/>
                </a:cubicBezTo>
                <a:cubicBezTo>
                  <a:pt x="952501" y="395288"/>
                  <a:pt x="955358" y="388621"/>
                  <a:pt x="958215" y="381953"/>
                </a:cubicBezTo>
                <a:lnTo>
                  <a:pt x="967740" y="356236"/>
                </a:lnTo>
                <a:lnTo>
                  <a:pt x="986790" y="356236"/>
                </a:lnTo>
                <a:lnTo>
                  <a:pt x="986790" y="419101"/>
                </a:lnTo>
                <a:lnTo>
                  <a:pt x="973455" y="419101"/>
                </a:lnTo>
                <a:lnTo>
                  <a:pt x="973455" y="396241"/>
                </a:lnTo>
                <a:cubicBezTo>
                  <a:pt x="973455" y="387668"/>
                  <a:pt x="973455" y="379096"/>
                  <a:pt x="973455" y="370523"/>
                </a:cubicBezTo>
                <a:cubicBezTo>
                  <a:pt x="970598" y="379096"/>
                  <a:pt x="967740" y="387668"/>
                  <a:pt x="963930" y="396241"/>
                </a:cubicBezTo>
                <a:lnTo>
                  <a:pt x="955358" y="419101"/>
                </a:lnTo>
                <a:lnTo>
                  <a:pt x="945833" y="419101"/>
                </a:lnTo>
                <a:lnTo>
                  <a:pt x="937260" y="396241"/>
                </a:lnTo>
                <a:cubicBezTo>
                  <a:pt x="934403" y="387668"/>
                  <a:pt x="930593" y="380048"/>
                  <a:pt x="927735" y="371476"/>
                </a:cubicBezTo>
                <a:cubicBezTo>
                  <a:pt x="927735" y="380048"/>
                  <a:pt x="927735" y="388621"/>
                  <a:pt x="927735" y="397193"/>
                </a:cubicBezTo>
                <a:lnTo>
                  <a:pt x="927735" y="420053"/>
                </a:lnTo>
                <a:lnTo>
                  <a:pt x="915353" y="420053"/>
                </a:lnTo>
                <a:close/>
                <a:moveTo>
                  <a:pt x="445770" y="356236"/>
                </a:moveTo>
                <a:lnTo>
                  <a:pt x="463868" y="356236"/>
                </a:lnTo>
                <a:lnTo>
                  <a:pt x="473393" y="381953"/>
                </a:lnTo>
                <a:cubicBezTo>
                  <a:pt x="476250" y="388621"/>
                  <a:pt x="478155" y="395288"/>
                  <a:pt x="481013" y="401956"/>
                </a:cubicBezTo>
                <a:cubicBezTo>
                  <a:pt x="482918" y="395288"/>
                  <a:pt x="485775" y="388621"/>
                  <a:pt x="488633" y="381953"/>
                </a:cubicBezTo>
                <a:lnTo>
                  <a:pt x="498158" y="356236"/>
                </a:lnTo>
                <a:lnTo>
                  <a:pt x="516255" y="356236"/>
                </a:lnTo>
                <a:lnTo>
                  <a:pt x="516255" y="419101"/>
                </a:lnTo>
                <a:lnTo>
                  <a:pt x="502920" y="419101"/>
                </a:lnTo>
                <a:lnTo>
                  <a:pt x="502920" y="396241"/>
                </a:lnTo>
                <a:cubicBezTo>
                  <a:pt x="502920" y="387668"/>
                  <a:pt x="502920" y="379096"/>
                  <a:pt x="502920" y="370523"/>
                </a:cubicBezTo>
                <a:cubicBezTo>
                  <a:pt x="500063" y="379096"/>
                  <a:pt x="497205" y="387668"/>
                  <a:pt x="493395" y="396241"/>
                </a:cubicBezTo>
                <a:lnTo>
                  <a:pt x="484822" y="419101"/>
                </a:lnTo>
                <a:lnTo>
                  <a:pt x="475297" y="419101"/>
                </a:lnTo>
                <a:lnTo>
                  <a:pt x="467678" y="396241"/>
                </a:lnTo>
                <a:cubicBezTo>
                  <a:pt x="464820" y="387668"/>
                  <a:pt x="461010" y="380048"/>
                  <a:pt x="458153" y="371476"/>
                </a:cubicBezTo>
                <a:cubicBezTo>
                  <a:pt x="458153" y="380048"/>
                  <a:pt x="458153" y="388621"/>
                  <a:pt x="458153" y="397193"/>
                </a:cubicBezTo>
                <a:lnTo>
                  <a:pt x="458153" y="420053"/>
                </a:lnTo>
                <a:lnTo>
                  <a:pt x="445770" y="420053"/>
                </a:lnTo>
                <a:close/>
                <a:moveTo>
                  <a:pt x="1158240" y="355283"/>
                </a:moveTo>
                <a:lnTo>
                  <a:pt x="1208723" y="355283"/>
                </a:lnTo>
                <a:lnTo>
                  <a:pt x="1208723" y="366713"/>
                </a:lnTo>
                <a:lnTo>
                  <a:pt x="1189673" y="366713"/>
                </a:lnTo>
                <a:lnTo>
                  <a:pt x="1189673" y="419101"/>
                </a:lnTo>
                <a:lnTo>
                  <a:pt x="1176338" y="419101"/>
                </a:lnTo>
                <a:lnTo>
                  <a:pt x="1176338" y="366713"/>
                </a:lnTo>
                <a:lnTo>
                  <a:pt x="1158240" y="366713"/>
                </a:lnTo>
                <a:close/>
                <a:moveTo>
                  <a:pt x="1084897" y="355283"/>
                </a:moveTo>
                <a:lnTo>
                  <a:pt x="1099185" y="355283"/>
                </a:lnTo>
                <a:lnTo>
                  <a:pt x="1113472" y="377191"/>
                </a:lnTo>
                <a:cubicBezTo>
                  <a:pt x="1119187" y="384811"/>
                  <a:pt x="1122997" y="391478"/>
                  <a:pt x="1125855" y="397193"/>
                </a:cubicBezTo>
                <a:lnTo>
                  <a:pt x="1125855" y="355283"/>
                </a:lnTo>
                <a:lnTo>
                  <a:pt x="1138237" y="355283"/>
                </a:lnTo>
                <a:lnTo>
                  <a:pt x="1138237" y="419101"/>
                </a:lnTo>
                <a:lnTo>
                  <a:pt x="1126807" y="419101"/>
                </a:lnTo>
                <a:lnTo>
                  <a:pt x="1111567" y="395288"/>
                </a:lnTo>
                <a:cubicBezTo>
                  <a:pt x="1104900" y="385763"/>
                  <a:pt x="1101089" y="379096"/>
                  <a:pt x="1097280" y="373381"/>
                </a:cubicBezTo>
                <a:lnTo>
                  <a:pt x="1097280" y="419101"/>
                </a:lnTo>
                <a:lnTo>
                  <a:pt x="1084897" y="419101"/>
                </a:lnTo>
                <a:close/>
                <a:moveTo>
                  <a:pt x="1013460" y="355283"/>
                </a:moveTo>
                <a:lnTo>
                  <a:pt x="1057275" y="355283"/>
                </a:lnTo>
                <a:lnTo>
                  <a:pt x="1057275" y="366713"/>
                </a:lnTo>
                <a:lnTo>
                  <a:pt x="1026795" y="366713"/>
                </a:lnTo>
                <a:lnTo>
                  <a:pt x="1026795" y="381001"/>
                </a:lnTo>
                <a:lnTo>
                  <a:pt x="1054418" y="381001"/>
                </a:lnTo>
                <a:lnTo>
                  <a:pt x="1054418" y="392431"/>
                </a:lnTo>
                <a:lnTo>
                  <a:pt x="1026795" y="392431"/>
                </a:lnTo>
                <a:lnTo>
                  <a:pt x="1026795" y="407671"/>
                </a:lnTo>
                <a:lnTo>
                  <a:pt x="1058227" y="407671"/>
                </a:lnTo>
                <a:lnTo>
                  <a:pt x="1058227" y="419101"/>
                </a:lnTo>
                <a:lnTo>
                  <a:pt x="1013460" y="419101"/>
                </a:lnTo>
                <a:close/>
                <a:moveTo>
                  <a:pt x="845820" y="355283"/>
                </a:moveTo>
                <a:lnTo>
                  <a:pt x="889635" y="355283"/>
                </a:lnTo>
                <a:lnTo>
                  <a:pt x="889635" y="366713"/>
                </a:lnTo>
                <a:lnTo>
                  <a:pt x="859155" y="366713"/>
                </a:lnTo>
                <a:lnTo>
                  <a:pt x="859155" y="381001"/>
                </a:lnTo>
                <a:lnTo>
                  <a:pt x="886778" y="381001"/>
                </a:lnTo>
                <a:lnTo>
                  <a:pt x="886778" y="392431"/>
                </a:lnTo>
                <a:lnTo>
                  <a:pt x="859155" y="392431"/>
                </a:lnTo>
                <a:lnTo>
                  <a:pt x="859155" y="407671"/>
                </a:lnTo>
                <a:lnTo>
                  <a:pt x="890588" y="407671"/>
                </a:lnTo>
                <a:lnTo>
                  <a:pt x="890588" y="419101"/>
                </a:lnTo>
                <a:lnTo>
                  <a:pt x="845820" y="419101"/>
                </a:lnTo>
                <a:close/>
                <a:moveTo>
                  <a:pt x="713423" y="355283"/>
                </a:moveTo>
                <a:lnTo>
                  <a:pt x="729615" y="355283"/>
                </a:lnTo>
                <a:lnTo>
                  <a:pt x="753428" y="419101"/>
                </a:lnTo>
                <a:lnTo>
                  <a:pt x="739140" y="419101"/>
                </a:lnTo>
                <a:lnTo>
                  <a:pt x="734378" y="405766"/>
                </a:lnTo>
                <a:lnTo>
                  <a:pt x="707708" y="405766"/>
                </a:lnTo>
                <a:lnTo>
                  <a:pt x="702945" y="419101"/>
                </a:lnTo>
                <a:lnTo>
                  <a:pt x="689610" y="419101"/>
                </a:lnTo>
                <a:close/>
                <a:moveTo>
                  <a:pt x="617220" y="355283"/>
                </a:moveTo>
                <a:lnTo>
                  <a:pt x="631508" y="355283"/>
                </a:lnTo>
                <a:lnTo>
                  <a:pt x="645795" y="377191"/>
                </a:lnTo>
                <a:cubicBezTo>
                  <a:pt x="651510" y="384811"/>
                  <a:pt x="655320" y="391478"/>
                  <a:pt x="658178" y="397193"/>
                </a:cubicBezTo>
                <a:lnTo>
                  <a:pt x="658178" y="355283"/>
                </a:lnTo>
                <a:lnTo>
                  <a:pt x="670560" y="355283"/>
                </a:lnTo>
                <a:lnTo>
                  <a:pt x="670560" y="419101"/>
                </a:lnTo>
                <a:lnTo>
                  <a:pt x="659130" y="419101"/>
                </a:lnTo>
                <a:lnTo>
                  <a:pt x="643890" y="395288"/>
                </a:lnTo>
                <a:cubicBezTo>
                  <a:pt x="637222" y="385763"/>
                  <a:pt x="633413" y="379096"/>
                  <a:pt x="629603" y="373381"/>
                </a:cubicBezTo>
                <a:lnTo>
                  <a:pt x="629603" y="419101"/>
                </a:lnTo>
                <a:lnTo>
                  <a:pt x="617220" y="419101"/>
                </a:lnTo>
                <a:close/>
                <a:moveTo>
                  <a:pt x="559118" y="355283"/>
                </a:moveTo>
                <a:lnTo>
                  <a:pt x="575310" y="355283"/>
                </a:lnTo>
                <a:lnTo>
                  <a:pt x="599122" y="419101"/>
                </a:lnTo>
                <a:lnTo>
                  <a:pt x="584835" y="419101"/>
                </a:lnTo>
                <a:lnTo>
                  <a:pt x="580072" y="405766"/>
                </a:lnTo>
                <a:lnTo>
                  <a:pt x="553403" y="405766"/>
                </a:lnTo>
                <a:lnTo>
                  <a:pt x="548640" y="419101"/>
                </a:lnTo>
                <a:lnTo>
                  <a:pt x="535305" y="419101"/>
                </a:lnTo>
                <a:close/>
                <a:moveTo>
                  <a:pt x="338137" y="355283"/>
                </a:moveTo>
                <a:lnTo>
                  <a:pt x="388619" y="355283"/>
                </a:lnTo>
                <a:lnTo>
                  <a:pt x="388619" y="366713"/>
                </a:lnTo>
                <a:lnTo>
                  <a:pt x="369569" y="366713"/>
                </a:lnTo>
                <a:lnTo>
                  <a:pt x="369569" y="419101"/>
                </a:lnTo>
                <a:lnTo>
                  <a:pt x="356234" y="419101"/>
                </a:lnTo>
                <a:lnTo>
                  <a:pt x="356234" y="366713"/>
                </a:lnTo>
                <a:lnTo>
                  <a:pt x="338137" y="366713"/>
                </a:lnTo>
                <a:close/>
                <a:moveTo>
                  <a:pt x="274320" y="355283"/>
                </a:moveTo>
                <a:lnTo>
                  <a:pt x="318135" y="355283"/>
                </a:lnTo>
                <a:lnTo>
                  <a:pt x="318135" y="366713"/>
                </a:lnTo>
                <a:lnTo>
                  <a:pt x="287655" y="366713"/>
                </a:lnTo>
                <a:lnTo>
                  <a:pt x="287655" y="381001"/>
                </a:lnTo>
                <a:lnTo>
                  <a:pt x="315278" y="381001"/>
                </a:lnTo>
                <a:lnTo>
                  <a:pt x="315278" y="392431"/>
                </a:lnTo>
                <a:lnTo>
                  <a:pt x="287655" y="392431"/>
                </a:lnTo>
                <a:lnTo>
                  <a:pt x="287655" y="407671"/>
                </a:lnTo>
                <a:lnTo>
                  <a:pt x="319088" y="407671"/>
                </a:lnTo>
                <a:lnTo>
                  <a:pt x="319088" y="419101"/>
                </a:lnTo>
                <a:lnTo>
                  <a:pt x="274320" y="419101"/>
                </a:lnTo>
                <a:close/>
                <a:moveTo>
                  <a:pt x="92393" y="355283"/>
                </a:moveTo>
                <a:lnTo>
                  <a:pt x="108585" y="355283"/>
                </a:lnTo>
                <a:lnTo>
                  <a:pt x="132398" y="419101"/>
                </a:lnTo>
                <a:lnTo>
                  <a:pt x="118110" y="419101"/>
                </a:lnTo>
                <a:lnTo>
                  <a:pt x="113348" y="405766"/>
                </a:lnTo>
                <a:lnTo>
                  <a:pt x="86678" y="405766"/>
                </a:lnTo>
                <a:lnTo>
                  <a:pt x="81915" y="419101"/>
                </a:lnTo>
                <a:lnTo>
                  <a:pt x="68580" y="419101"/>
                </a:lnTo>
                <a:close/>
                <a:moveTo>
                  <a:pt x="797242" y="354330"/>
                </a:moveTo>
                <a:cubicBezTo>
                  <a:pt x="805815" y="354330"/>
                  <a:pt x="813434" y="357188"/>
                  <a:pt x="818197" y="360998"/>
                </a:cubicBezTo>
                <a:lnTo>
                  <a:pt x="810577" y="370523"/>
                </a:lnTo>
                <a:cubicBezTo>
                  <a:pt x="807720" y="367665"/>
                  <a:pt x="802957" y="365760"/>
                  <a:pt x="796290" y="365760"/>
                </a:cubicBezTo>
                <a:cubicBezTo>
                  <a:pt x="782955" y="365760"/>
                  <a:pt x="778192" y="376238"/>
                  <a:pt x="778192" y="386715"/>
                </a:cubicBezTo>
                <a:cubicBezTo>
                  <a:pt x="778192" y="397193"/>
                  <a:pt x="782002" y="408623"/>
                  <a:pt x="796290" y="408623"/>
                </a:cubicBezTo>
                <a:cubicBezTo>
                  <a:pt x="801052" y="408623"/>
                  <a:pt x="803909" y="407670"/>
                  <a:pt x="806767" y="405765"/>
                </a:cubicBezTo>
                <a:lnTo>
                  <a:pt x="806767" y="393382"/>
                </a:lnTo>
                <a:lnTo>
                  <a:pt x="792480" y="393382"/>
                </a:lnTo>
                <a:lnTo>
                  <a:pt x="792480" y="381953"/>
                </a:lnTo>
                <a:lnTo>
                  <a:pt x="820102" y="381953"/>
                </a:lnTo>
                <a:lnTo>
                  <a:pt x="820102" y="382905"/>
                </a:lnTo>
                <a:lnTo>
                  <a:pt x="820102" y="411480"/>
                </a:lnTo>
                <a:cubicBezTo>
                  <a:pt x="815340" y="417195"/>
                  <a:pt x="806767" y="421005"/>
                  <a:pt x="796290" y="421005"/>
                </a:cubicBezTo>
                <a:cubicBezTo>
                  <a:pt x="777240" y="421005"/>
                  <a:pt x="764857" y="409575"/>
                  <a:pt x="764857" y="387668"/>
                </a:cubicBezTo>
                <a:cubicBezTo>
                  <a:pt x="764857" y="365760"/>
                  <a:pt x="778192" y="354330"/>
                  <a:pt x="797242" y="354330"/>
                </a:cubicBezTo>
                <a:close/>
                <a:moveTo>
                  <a:pt x="232411" y="354330"/>
                </a:moveTo>
                <a:cubicBezTo>
                  <a:pt x="241936" y="354330"/>
                  <a:pt x="249556" y="357188"/>
                  <a:pt x="253366" y="360998"/>
                </a:cubicBezTo>
                <a:lnTo>
                  <a:pt x="246698" y="370523"/>
                </a:lnTo>
                <a:cubicBezTo>
                  <a:pt x="242888" y="366713"/>
                  <a:pt x="237173" y="365760"/>
                  <a:pt x="231458" y="365760"/>
                </a:cubicBezTo>
                <a:cubicBezTo>
                  <a:pt x="224791" y="365760"/>
                  <a:pt x="220981" y="368618"/>
                  <a:pt x="220981" y="372428"/>
                </a:cubicBezTo>
                <a:cubicBezTo>
                  <a:pt x="220981" y="376238"/>
                  <a:pt x="224791" y="378143"/>
                  <a:pt x="234316" y="381000"/>
                </a:cubicBezTo>
                <a:cubicBezTo>
                  <a:pt x="247650" y="384810"/>
                  <a:pt x="254318" y="390525"/>
                  <a:pt x="254318" y="400050"/>
                </a:cubicBezTo>
                <a:cubicBezTo>
                  <a:pt x="254318" y="411480"/>
                  <a:pt x="245745" y="420053"/>
                  <a:pt x="230506" y="420053"/>
                </a:cubicBezTo>
                <a:cubicBezTo>
                  <a:pt x="220981" y="420053"/>
                  <a:pt x="211456" y="416243"/>
                  <a:pt x="206693" y="411480"/>
                </a:cubicBezTo>
                <a:lnTo>
                  <a:pt x="213361" y="401955"/>
                </a:lnTo>
                <a:cubicBezTo>
                  <a:pt x="216218" y="404813"/>
                  <a:pt x="222886" y="408623"/>
                  <a:pt x="231458" y="408623"/>
                </a:cubicBezTo>
                <a:cubicBezTo>
                  <a:pt x="238125" y="408623"/>
                  <a:pt x="241936" y="406718"/>
                  <a:pt x="241936" y="401003"/>
                </a:cubicBezTo>
                <a:cubicBezTo>
                  <a:pt x="241936" y="396240"/>
                  <a:pt x="237173" y="394335"/>
                  <a:pt x="229553" y="392430"/>
                </a:cubicBezTo>
                <a:cubicBezTo>
                  <a:pt x="215266" y="388620"/>
                  <a:pt x="208598" y="383857"/>
                  <a:pt x="208598" y="373380"/>
                </a:cubicBezTo>
                <a:cubicBezTo>
                  <a:pt x="208598" y="362903"/>
                  <a:pt x="216218" y="354330"/>
                  <a:pt x="232411" y="354330"/>
                </a:cubicBezTo>
                <a:close/>
                <a:moveTo>
                  <a:pt x="169545" y="354330"/>
                </a:moveTo>
                <a:cubicBezTo>
                  <a:pt x="179070" y="354330"/>
                  <a:pt x="186691" y="357188"/>
                  <a:pt x="190500" y="360998"/>
                </a:cubicBezTo>
                <a:lnTo>
                  <a:pt x="183833" y="370523"/>
                </a:lnTo>
                <a:cubicBezTo>
                  <a:pt x="180023" y="366713"/>
                  <a:pt x="174308" y="365760"/>
                  <a:pt x="168593" y="365760"/>
                </a:cubicBezTo>
                <a:cubicBezTo>
                  <a:pt x="161925" y="365760"/>
                  <a:pt x="158116" y="368618"/>
                  <a:pt x="158116" y="372428"/>
                </a:cubicBezTo>
                <a:cubicBezTo>
                  <a:pt x="158116" y="376238"/>
                  <a:pt x="161925" y="378143"/>
                  <a:pt x="171450" y="381000"/>
                </a:cubicBezTo>
                <a:cubicBezTo>
                  <a:pt x="184785" y="384810"/>
                  <a:pt x="191453" y="390525"/>
                  <a:pt x="191453" y="400050"/>
                </a:cubicBezTo>
                <a:cubicBezTo>
                  <a:pt x="191453" y="411480"/>
                  <a:pt x="182880" y="420053"/>
                  <a:pt x="167641" y="420053"/>
                </a:cubicBezTo>
                <a:cubicBezTo>
                  <a:pt x="158116" y="420053"/>
                  <a:pt x="148591" y="416243"/>
                  <a:pt x="143828" y="411480"/>
                </a:cubicBezTo>
                <a:lnTo>
                  <a:pt x="150495" y="401955"/>
                </a:lnTo>
                <a:cubicBezTo>
                  <a:pt x="153353" y="404813"/>
                  <a:pt x="160020" y="408623"/>
                  <a:pt x="168593" y="408623"/>
                </a:cubicBezTo>
                <a:cubicBezTo>
                  <a:pt x="175260" y="408623"/>
                  <a:pt x="179070" y="406718"/>
                  <a:pt x="179070" y="401003"/>
                </a:cubicBezTo>
                <a:cubicBezTo>
                  <a:pt x="179070" y="396240"/>
                  <a:pt x="174308" y="394335"/>
                  <a:pt x="166688" y="392430"/>
                </a:cubicBezTo>
                <a:cubicBezTo>
                  <a:pt x="152400" y="388620"/>
                  <a:pt x="145733" y="383857"/>
                  <a:pt x="145733" y="373380"/>
                </a:cubicBezTo>
                <a:cubicBezTo>
                  <a:pt x="145733" y="362903"/>
                  <a:pt x="153353" y="354330"/>
                  <a:pt x="169545" y="354330"/>
                </a:cubicBezTo>
                <a:close/>
                <a:moveTo>
                  <a:pt x="367665" y="101918"/>
                </a:moveTo>
                <a:cubicBezTo>
                  <a:pt x="334328" y="101918"/>
                  <a:pt x="306705" y="129541"/>
                  <a:pt x="306705" y="162878"/>
                </a:cubicBezTo>
                <a:cubicBezTo>
                  <a:pt x="306705" y="196216"/>
                  <a:pt x="334328" y="223838"/>
                  <a:pt x="367665" y="223838"/>
                </a:cubicBezTo>
                <a:cubicBezTo>
                  <a:pt x="401003" y="223838"/>
                  <a:pt x="428625" y="197168"/>
                  <a:pt x="428625" y="162878"/>
                </a:cubicBezTo>
                <a:cubicBezTo>
                  <a:pt x="428625" y="129541"/>
                  <a:pt x="401003" y="101918"/>
                  <a:pt x="367665" y="101918"/>
                </a:cubicBezTo>
                <a:close/>
                <a:moveTo>
                  <a:pt x="1190625" y="100966"/>
                </a:moveTo>
                <a:cubicBezTo>
                  <a:pt x="1154430" y="100966"/>
                  <a:pt x="1125855" y="132398"/>
                  <a:pt x="1129665" y="169546"/>
                </a:cubicBezTo>
                <a:cubicBezTo>
                  <a:pt x="1133475" y="197168"/>
                  <a:pt x="1155382" y="219076"/>
                  <a:pt x="1183005" y="222886"/>
                </a:cubicBezTo>
                <a:cubicBezTo>
                  <a:pt x="1219200" y="227648"/>
                  <a:pt x="1249680" y="200978"/>
                  <a:pt x="1251585" y="165736"/>
                </a:cubicBezTo>
                <a:lnTo>
                  <a:pt x="1251585" y="159068"/>
                </a:lnTo>
                <a:cubicBezTo>
                  <a:pt x="1249680" y="126683"/>
                  <a:pt x="1223010" y="100966"/>
                  <a:pt x="1190625" y="100966"/>
                </a:cubicBezTo>
                <a:close/>
                <a:moveTo>
                  <a:pt x="718185" y="100965"/>
                </a:moveTo>
                <a:cubicBezTo>
                  <a:pt x="681990" y="100965"/>
                  <a:pt x="653415" y="132398"/>
                  <a:pt x="657225" y="169545"/>
                </a:cubicBezTo>
                <a:cubicBezTo>
                  <a:pt x="661035" y="197167"/>
                  <a:pt x="682943" y="219075"/>
                  <a:pt x="710565" y="222885"/>
                </a:cubicBezTo>
                <a:cubicBezTo>
                  <a:pt x="746760" y="227648"/>
                  <a:pt x="777240" y="200978"/>
                  <a:pt x="779145" y="165735"/>
                </a:cubicBezTo>
                <a:cubicBezTo>
                  <a:pt x="779145" y="165735"/>
                  <a:pt x="779145" y="159067"/>
                  <a:pt x="779145" y="159067"/>
                </a:cubicBezTo>
                <a:cubicBezTo>
                  <a:pt x="777240" y="126683"/>
                  <a:pt x="750570" y="100965"/>
                  <a:pt x="718185" y="100965"/>
                </a:cubicBezTo>
                <a:close/>
                <a:moveTo>
                  <a:pt x="962546" y="96694"/>
                </a:moveTo>
                <a:cubicBezTo>
                  <a:pt x="955119" y="96560"/>
                  <a:pt x="947261" y="97870"/>
                  <a:pt x="939165" y="100966"/>
                </a:cubicBezTo>
                <a:cubicBezTo>
                  <a:pt x="910590" y="111443"/>
                  <a:pt x="897255" y="137161"/>
                  <a:pt x="897255" y="159068"/>
                </a:cubicBezTo>
                <a:lnTo>
                  <a:pt x="1012508" y="127636"/>
                </a:lnTo>
                <a:cubicBezTo>
                  <a:pt x="1003221" y="110491"/>
                  <a:pt x="984825" y="97096"/>
                  <a:pt x="962546" y="96694"/>
                </a:cubicBezTo>
                <a:close/>
                <a:moveTo>
                  <a:pt x="1182052" y="57151"/>
                </a:moveTo>
                <a:cubicBezTo>
                  <a:pt x="1243012" y="52388"/>
                  <a:pt x="1296352" y="99061"/>
                  <a:pt x="1296352" y="165736"/>
                </a:cubicBezTo>
                <a:lnTo>
                  <a:pt x="1296352" y="266701"/>
                </a:lnTo>
                <a:lnTo>
                  <a:pt x="1255395" y="266701"/>
                </a:lnTo>
                <a:lnTo>
                  <a:pt x="1255395" y="235268"/>
                </a:lnTo>
                <a:cubicBezTo>
                  <a:pt x="1241107" y="258128"/>
                  <a:pt x="1211580" y="269558"/>
                  <a:pt x="1189672" y="269558"/>
                </a:cubicBezTo>
                <a:cubicBezTo>
                  <a:pt x="1128712" y="269558"/>
                  <a:pt x="1080135" y="218123"/>
                  <a:pt x="1083945" y="156211"/>
                </a:cubicBezTo>
                <a:cubicBezTo>
                  <a:pt x="1087755" y="103823"/>
                  <a:pt x="1129665" y="60961"/>
                  <a:pt x="1182052" y="57151"/>
                </a:cubicBezTo>
                <a:close/>
                <a:moveTo>
                  <a:pt x="957263" y="57151"/>
                </a:moveTo>
                <a:cubicBezTo>
                  <a:pt x="1023938" y="55246"/>
                  <a:pt x="1060133" y="110491"/>
                  <a:pt x="1065847" y="152401"/>
                </a:cubicBezTo>
                <a:lnTo>
                  <a:pt x="906780" y="196216"/>
                </a:lnTo>
                <a:cubicBezTo>
                  <a:pt x="917257" y="215266"/>
                  <a:pt x="943928" y="233363"/>
                  <a:pt x="972502" y="227648"/>
                </a:cubicBezTo>
                <a:cubicBezTo>
                  <a:pt x="992505" y="223838"/>
                  <a:pt x="1010602" y="209551"/>
                  <a:pt x="1018222" y="192406"/>
                </a:cubicBezTo>
                <a:lnTo>
                  <a:pt x="1059180" y="204788"/>
                </a:lnTo>
                <a:cubicBezTo>
                  <a:pt x="1042988" y="245746"/>
                  <a:pt x="1002030" y="270511"/>
                  <a:pt x="960120" y="270511"/>
                </a:cubicBezTo>
                <a:cubicBezTo>
                  <a:pt x="900113" y="270511"/>
                  <a:pt x="853440" y="221933"/>
                  <a:pt x="853440" y="164783"/>
                </a:cubicBezTo>
                <a:cubicBezTo>
                  <a:pt x="853440" y="101918"/>
                  <a:pt x="901065" y="59056"/>
                  <a:pt x="957263" y="57151"/>
                </a:cubicBezTo>
                <a:close/>
                <a:moveTo>
                  <a:pt x="606742" y="56198"/>
                </a:moveTo>
                <a:lnTo>
                  <a:pt x="606742" y="100013"/>
                </a:lnTo>
                <a:cubicBezTo>
                  <a:pt x="575310" y="101918"/>
                  <a:pt x="547688" y="120016"/>
                  <a:pt x="547688" y="165736"/>
                </a:cubicBezTo>
                <a:cubicBezTo>
                  <a:pt x="547688" y="203836"/>
                  <a:pt x="547688" y="202883"/>
                  <a:pt x="547688" y="265748"/>
                </a:cubicBezTo>
                <a:lnTo>
                  <a:pt x="501015" y="265748"/>
                </a:lnTo>
                <a:lnTo>
                  <a:pt x="501015" y="160021"/>
                </a:lnTo>
                <a:lnTo>
                  <a:pt x="501015" y="62866"/>
                </a:lnTo>
                <a:lnTo>
                  <a:pt x="546735" y="62866"/>
                </a:lnTo>
                <a:lnTo>
                  <a:pt x="546735" y="86678"/>
                </a:lnTo>
                <a:cubicBezTo>
                  <a:pt x="553403" y="76201"/>
                  <a:pt x="566738" y="56198"/>
                  <a:pt x="606742" y="56198"/>
                </a:cubicBezTo>
                <a:close/>
                <a:moveTo>
                  <a:pt x="367665" y="56198"/>
                </a:moveTo>
                <a:cubicBezTo>
                  <a:pt x="425768" y="56198"/>
                  <a:pt x="473393" y="103823"/>
                  <a:pt x="474345" y="162878"/>
                </a:cubicBezTo>
                <a:cubicBezTo>
                  <a:pt x="474345" y="221933"/>
                  <a:pt x="426720" y="269558"/>
                  <a:pt x="367665" y="269558"/>
                </a:cubicBezTo>
                <a:cubicBezTo>
                  <a:pt x="308610" y="269558"/>
                  <a:pt x="260985" y="221933"/>
                  <a:pt x="260985" y="162878"/>
                </a:cubicBezTo>
                <a:cubicBezTo>
                  <a:pt x="260985" y="103823"/>
                  <a:pt x="308610" y="56198"/>
                  <a:pt x="367665" y="56198"/>
                </a:cubicBezTo>
                <a:close/>
                <a:moveTo>
                  <a:pt x="0" y="20956"/>
                </a:moveTo>
                <a:lnTo>
                  <a:pt x="47625" y="20956"/>
                </a:lnTo>
                <a:lnTo>
                  <a:pt x="186690" y="184786"/>
                </a:lnTo>
                <a:lnTo>
                  <a:pt x="186690" y="20956"/>
                </a:lnTo>
                <a:lnTo>
                  <a:pt x="233363" y="20956"/>
                </a:lnTo>
                <a:lnTo>
                  <a:pt x="233363" y="266701"/>
                </a:lnTo>
                <a:lnTo>
                  <a:pt x="190500" y="266701"/>
                </a:lnTo>
                <a:lnTo>
                  <a:pt x="49530" y="101918"/>
                </a:lnTo>
                <a:lnTo>
                  <a:pt x="49530" y="265748"/>
                </a:lnTo>
                <a:lnTo>
                  <a:pt x="0" y="265748"/>
                </a:lnTo>
                <a:close/>
                <a:moveTo>
                  <a:pt x="781050" y="0"/>
                </a:moveTo>
                <a:lnTo>
                  <a:pt x="824865" y="0"/>
                </a:lnTo>
                <a:lnTo>
                  <a:pt x="824865" y="160973"/>
                </a:lnTo>
                <a:cubicBezTo>
                  <a:pt x="824865" y="161925"/>
                  <a:pt x="824865" y="161925"/>
                  <a:pt x="824865" y="162878"/>
                </a:cubicBezTo>
                <a:cubicBezTo>
                  <a:pt x="824865" y="163830"/>
                  <a:pt x="824865" y="163830"/>
                  <a:pt x="824865" y="164783"/>
                </a:cubicBezTo>
                <a:lnTo>
                  <a:pt x="824865" y="267653"/>
                </a:lnTo>
                <a:lnTo>
                  <a:pt x="783908" y="267653"/>
                </a:lnTo>
                <a:lnTo>
                  <a:pt x="783908" y="240030"/>
                </a:lnTo>
                <a:cubicBezTo>
                  <a:pt x="772478" y="260033"/>
                  <a:pt x="741045" y="270510"/>
                  <a:pt x="718185" y="270510"/>
                </a:cubicBezTo>
                <a:cubicBezTo>
                  <a:pt x="657225" y="270510"/>
                  <a:pt x="608648" y="219075"/>
                  <a:pt x="612458" y="157163"/>
                </a:cubicBezTo>
                <a:cubicBezTo>
                  <a:pt x="616268" y="104775"/>
                  <a:pt x="658178" y="61913"/>
                  <a:pt x="710565" y="58103"/>
                </a:cubicBezTo>
                <a:cubicBezTo>
                  <a:pt x="738188" y="55245"/>
                  <a:pt x="770573" y="66675"/>
                  <a:pt x="781050" y="80010"/>
                </a:cubicBezTo>
                <a:close/>
              </a:path>
            </a:pathLst>
          </a:custGeom>
          <a:solidFill>
            <a:srgbClr val="0000A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6754241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60083"/>
            <a:ext cx="7200000" cy="72016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/>
              <a:t>Click to add agenda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8000" y="1332000"/>
            <a:ext cx="5364000" cy="4428000"/>
          </a:xfrm>
        </p:spPr>
        <p:txBody>
          <a:bodyPr>
            <a:noAutofit/>
          </a:bodyPr>
          <a:lstStyle>
            <a:lvl1pPr>
              <a:tabLst>
                <a:tab pos="5004000" algn="r"/>
              </a:tabLst>
              <a:defRPr sz="1600">
                <a:solidFill>
                  <a:schemeClr val="bg1"/>
                </a:solidFill>
              </a:defRPr>
            </a:lvl1pPr>
            <a:lvl2pPr>
              <a:tabLst>
                <a:tab pos="5004000" algn="r"/>
              </a:tabLst>
              <a:defRPr sz="1200">
                <a:solidFill>
                  <a:schemeClr val="bg1"/>
                </a:solidFill>
              </a:defRPr>
            </a:lvl2pPr>
            <a:lvl3pPr>
              <a:tabLst>
                <a:tab pos="5004000" algn="r"/>
              </a:tabLst>
              <a:defRPr sz="1200">
                <a:solidFill>
                  <a:schemeClr val="bg1"/>
                </a:solidFill>
              </a:defRPr>
            </a:lvl3pPr>
            <a:lvl4pPr>
              <a:tabLst>
                <a:tab pos="5004000" algn="r"/>
              </a:tabLst>
              <a:defRPr sz="1200">
                <a:solidFill>
                  <a:schemeClr val="bg1"/>
                </a:solidFill>
              </a:defRPr>
            </a:lvl4pPr>
            <a:lvl5pPr>
              <a:tabLst>
                <a:tab pos="5004000" algn="r"/>
              </a:tabLst>
              <a:defRPr sz="1200">
                <a:solidFill>
                  <a:schemeClr val="bg1"/>
                </a:solidFill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2000" y="1332000"/>
            <a:ext cx="5364000" cy="4428000"/>
          </a:xfrm>
        </p:spPr>
        <p:txBody>
          <a:bodyPr>
            <a:noAutofit/>
          </a:bodyPr>
          <a:lstStyle>
            <a:lvl1pPr>
              <a:tabLst>
                <a:tab pos="5004000" algn="r"/>
              </a:tabLst>
              <a:defRPr sz="1600">
                <a:solidFill>
                  <a:schemeClr val="bg1"/>
                </a:solidFill>
              </a:defRPr>
            </a:lvl1pPr>
            <a:lvl2pPr>
              <a:tabLst>
                <a:tab pos="5004000" algn="r"/>
              </a:tabLst>
              <a:defRPr sz="1200">
                <a:solidFill>
                  <a:schemeClr val="bg1"/>
                </a:solidFill>
              </a:defRPr>
            </a:lvl2pPr>
            <a:lvl3pPr>
              <a:tabLst>
                <a:tab pos="5004000" algn="r"/>
              </a:tabLst>
              <a:defRPr sz="1200">
                <a:solidFill>
                  <a:schemeClr val="bg1"/>
                </a:solidFill>
              </a:defRPr>
            </a:lvl3pPr>
            <a:lvl4pPr>
              <a:tabLst>
                <a:tab pos="5004000" algn="r"/>
              </a:tabLst>
              <a:defRPr sz="1200">
                <a:solidFill>
                  <a:schemeClr val="bg1"/>
                </a:solidFill>
              </a:defRPr>
            </a:lvl4pPr>
            <a:lvl5pPr>
              <a:tabLst>
                <a:tab pos="5004000" algn="r"/>
              </a:tabLst>
              <a:defRPr sz="1200">
                <a:solidFill>
                  <a:schemeClr val="bg1"/>
                </a:solidFill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Logotype, static">
            <a:extLst>
              <a:ext uri="{FF2B5EF4-FFF2-40B4-BE49-F238E27FC236}">
                <a16:creationId xmlns:a16="http://schemas.microsoft.com/office/drawing/2014/main" id="{17C67F4D-39A7-4665-5442-B164D1DECA70}"/>
              </a:ext>
            </a:extLst>
          </p:cNvPr>
          <p:cNvSpPr>
            <a:spLocks noChangeAspect="1"/>
          </p:cNvSpPr>
          <p:nvPr userDrawn="1"/>
        </p:nvSpPr>
        <p:spPr>
          <a:xfrm>
            <a:off x="10689559" y="6389370"/>
            <a:ext cx="864000" cy="180067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6014342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086580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Light Blue">
    <p:bg>
      <p:bgPr>
        <a:solidFill>
          <a:srgbClr val="E5F2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634810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29.xml"/><Relationship Id="rId21" Type="http://schemas.openxmlformats.org/officeDocument/2006/relationships/slideLayout" Target="../slideLayouts/slideLayout47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slideLayout" Target="../slideLayouts/slideLayout51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slideLayout" Target="../slideLayouts/slideLayout50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tags" Target="../tags/tag2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7999" y="360083"/>
            <a:ext cx="7200000" cy="72016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7999" y="1332000"/>
            <a:ext cx="10908000" cy="442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8000" y="6375018"/>
            <a:ext cx="324000" cy="1440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rgbClr val="8B8A8D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31478" y="6375051"/>
            <a:ext cx="3960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 cap="all" baseline="0">
                <a:solidFill>
                  <a:srgbClr val="8B8A8D"/>
                </a:solidFill>
              </a:defRPr>
            </a:lvl1pPr>
          </a:lstStyle>
          <a:p>
            <a:endParaRPr lang="en-GB"/>
          </a:p>
        </p:txBody>
      </p:sp>
      <p:sp>
        <p:nvSpPr>
          <p:cNvPr id="30" name="Logotype, static">
            <a:extLst>
              <a:ext uri="{FF2B5EF4-FFF2-40B4-BE49-F238E27FC236}">
                <a16:creationId xmlns:a16="http://schemas.microsoft.com/office/drawing/2014/main" id="{4CDFEBFF-56BA-BA38-B9E3-B6FC44861925}"/>
              </a:ext>
            </a:extLst>
          </p:cNvPr>
          <p:cNvSpPr>
            <a:spLocks noChangeAspect="1"/>
          </p:cNvSpPr>
          <p:nvPr userDrawn="1"/>
        </p:nvSpPr>
        <p:spPr>
          <a:xfrm>
            <a:off x="10689559" y="6389370"/>
            <a:ext cx="864000" cy="180067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rgbClr val="0000A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5" name="xxLanguageTextBox">
            <a:extLst>
              <a:ext uri="{FF2B5EF4-FFF2-40B4-BE49-F238E27FC236}">
                <a16:creationId xmlns:a16="http://schemas.microsoft.com/office/drawing/2014/main" id="{9CE3F7C7-EF19-BC00-AC41-3117286E2BDB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0" y="0"/>
            <a:ext cx="12700" cy="1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65569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53" r:id="rId2"/>
    <p:sldLayoutId id="2147483755" r:id="rId3"/>
    <p:sldLayoutId id="2147483730" r:id="rId4"/>
    <p:sldLayoutId id="2147483752" r:id="rId5"/>
    <p:sldLayoutId id="2147483728" r:id="rId6"/>
    <p:sldLayoutId id="2147483748" r:id="rId7"/>
    <p:sldLayoutId id="2147483650" r:id="rId8"/>
    <p:sldLayoutId id="2147483749" r:id="rId9"/>
    <p:sldLayoutId id="2147483750" r:id="rId10"/>
    <p:sldLayoutId id="2147483737" r:id="rId11"/>
    <p:sldLayoutId id="2147483652" r:id="rId12"/>
    <p:sldLayoutId id="2147483738" r:id="rId13"/>
    <p:sldLayoutId id="2147483663" r:id="rId14"/>
    <p:sldLayoutId id="2147483655" r:id="rId15"/>
    <p:sldLayoutId id="2147483751" r:id="rId16"/>
    <p:sldLayoutId id="2147483742" r:id="rId17"/>
    <p:sldLayoutId id="2147483660" r:id="rId18"/>
    <p:sldLayoutId id="2147483724" r:id="rId19"/>
    <p:sldLayoutId id="2147483725" r:id="rId20"/>
    <p:sldLayoutId id="2147483735" r:id="rId21"/>
    <p:sldLayoutId id="2147483743" r:id="rId22"/>
    <p:sldLayoutId id="2147483741" r:id="rId23"/>
    <p:sldLayoutId id="2147483747" r:id="rId24"/>
    <p:sldLayoutId id="2147483733" r:id="rId25"/>
    <p:sldLayoutId id="2147483756" r:id="rId26"/>
  </p:sldLayoutIdLst>
  <p:hf hdr="0" ftr="0" dt="0"/>
  <p:txStyles>
    <p:titleStyle>
      <a:lvl1pPr algn="l" defTabSz="1088776" rtl="0" eaLnBrk="1" latinLnBrk="0" hangingPunct="1"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15487" indent="-215487" algn="l" defTabSz="1088776" rtl="0" eaLnBrk="1" latinLnBrk="0" hangingPunct="1">
        <a:spcBef>
          <a:spcPts val="1200"/>
        </a:spcBef>
        <a:buFont typeface="Arial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471517" indent="-214326" algn="l" defTabSz="1088776" rtl="0" eaLnBrk="1" latinLnBrk="0" hangingPunct="1">
        <a:spcBef>
          <a:spcPts val="0"/>
        </a:spcBef>
        <a:buFont typeface="Arial" pitchFamily="34" charset="0"/>
        <a:buChar char="–"/>
        <a:defRPr sz="12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728708" indent="-214326" algn="l" defTabSz="1088776" rtl="0" eaLnBrk="1" latinLnBrk="0" hangingPunct="1">
        <a:spcBef>
          <a:spcPts val="0"/>
        </a:spcBef>
        <a:buFont typeface="Arial" pitchFamily="34" charset="0"/>
        <a:buChar char="−"/>
        <a:defRPr sz="12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985900" indent="-214326" algn="l" defTabSz="1088776" rtl="0" eaLnBrk="1" latinLnBrk="0" hangingPunct="1">
        <a:spcBef>
          <a:spcPts val="0"/>
        </a:spcBef>
        <a:buFont typeface="Arial" pitchFamily="34" charset="0"/>
        <a:buChar char="−"/>
        <a:defRPr sz="12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243091" indent="-214326" algn="l" defTabSz="1088776" rtl="0" eaLnBrk="1" latinLnBrk="0" hangingPunct="1">
        <a:spcBef>
          <a:spcPts val="0"/>
        </a:spcBef>
        <a:buFont typeface="Arial" pitchFamily="34" charset="0"/>
        <a:buChar char="−"/>
        <a:defRPr sz="12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994134" indent="-272194" algn="l" defTabSz="108877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8522" indent="-272194" algn="l" defTabSz="108877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2910" indent="-272194" algn="l" defTabSz="108877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7298" indent="-272194" algn="l" defTabSz="108877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388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776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3164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552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940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6328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10716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5104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408" userDrawn="1">
          <p15:clr>
            <a:srgbClr val="F26B43"/>
          </p15:clr>
        </p15:guide>
        <p15:guide id="4" pos="7284" userDrawn="1">
          <p15:clr>
            <a:srgbClr val="F26B43"/>
          </p15:clr>
        </p15:guide>
        <p15:guide id="5" orient="horz" pos="224" userDrawn="1">
          <p15:clr>
            <a:srgbClr val="F26B43"/>
          </p15:clr>
        </p15:guide>
        <p15:guide id="6" orient="horz" pos="686" userDrawn="1">
          <p15:clr>
            <a:srgbClr val="F26B43"/>
          </p15:clr>
        </p15:guide>
        <p15:guide id="7" orient="horz" pos="836" userDrawn="1">
          <p15:clr>
            <a:srgbClr val="F26B43"/>
          </p15:clr>
        </p15:guide>
        <p15:guide id="8" orient="horz" pos="363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085F86F-9441-419A-9890-FC95F4DD74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530" imgH="531" progId="TCLayout.ActiveDocument.1">
                  <p:embed/>
                </p:oleObj>
              </mc:Choice>
              <mc:Fallback>
                <p:oleObj name="think-cell Slide" r:id="rId29" imgW="530" imgH="53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085F86F-9441-419A-9890-FC95F4DD74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8000" y="360083"/>
            <a:ext cx="7200000" cy="72016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7999" y="1332001"/>
            <a:ext cx="10908000" cy="442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8000" y="6375019"/>
            <a:ext cx="324000" cy="1440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rgbClr val="8B8A8D"/>
                </a:solidFill>
                <a:latin typeface="Nordea Sans Small" panose="00000500000000000000" pitchFamily="50" charset="0"/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Line 11"/>
          <p:cNvSpPr>
            <a:spLocks noChangeShapeType="1"/>
          </p:cNvSpPr>
          <p:nvPr userDrawn="1"/>
        </p:nvSpPr>
        <p:spPr bwMode="auto">
          <a:xfrm>
            <a:off x="6494463" y="3467100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37" tIns="45719" rIns="91437" bIns="45719" numCol="1" anchor="t" anchorCtr="0" compatLnSpc="1">
            <a:prstTxWarp prst="textNoShape">
              <a:avLst/>
            </a:prstTxWarp>
          </a:bodyPr>
          <a:lstStyle/>
          <a:p>
            <a:endParaRPr lang="en-GB" sz="1799"/>
          </a:p>
        </p:txBody>
      </p:sp>
      <p:sp>
        <p:nvSpPr>
          <p:cNvPr id="17" name="Line 12"/>
          <p:cNvSpPr>
            <a:spLocks noChangeShapeType="1"/>
          </p:cNvSpPr>
          <p:nvPr userDrawn="1"/>
        </p:nvSpPr>
        <p:spPr bwMode="auto">
          <a:xfrm>
            <a:off x="6494463" y="3467100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37" tIns="45719" rIns="91437" bIns="45719" numCol="1" anchor="t" anchorCtr="0" compatLnSpc="1">
            <a:prstTxWarp prst="textNoShape">
              <a:avLst/>
            </a:prstTxWarp>
          </a:bodyPr>
          <a:lstStyle/>
          <a:p>
            <a:endParaRPr lang="en-GB" sz="1799"/>
          </a:p>
        </p:txBody>
      </p:sp>
      <p:sp>
        <p:nvSpPr>
          <p:cNvPr id="18" name="Line 13"/>
          <p:cNvSpPr>
            <a:spLocks noChangeShapeType="1"/>
          </p:cNvSpPr>
          <p:nvPr userDrawn="1"/>
        </p:nvSpPr>
        <p:spPr bwMode="auto">
          <a:xfrm>
            <a:off x="6675438" y="3414713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37" tIns="45719" rIns="91437" bIns="45719" numCol="1" anchor="t" anchorCtr="0" compatLnSpc="1">
            <a:prstTxWarp prst="textNoShape">
              <a:avLst/>
            </a:prstTxWarp>
          </a:bodyPr>
          <a:lstStyle/>
          <a:p>
            <a:endParaRPr lang="en-GB" sz="1799"/>
          </a:p>
        </p:txBody>
      </p:sp>
      <p:sp>
        <p:nvSpPr>
          <p:cNvPr id="19" name="Line 14"/>
          <p:cNvSpPr>
            <a:spLocks noChangeShapeType="1"/>
          </p:cNvSpPr>
          <p:nvPr userDrawn="1"/>
        </p:nvSpPr>
        <p:spPr bwMode="auto">
          <a:xfrm>
            <a:off x="6675438" y="3414713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37" tIns="45719" rIns="91437" bIns="45719" numCol="1" anchor="t" anchorCtr="0" compatLnSpc="1">
            <a:prstTxWarp prst="textNoShape">
              <a:avLst/>
            </a:prstTxWarp>
          </a:bodyPr>
          <a:lstStyle/>
          <a:p>
            <a:endParaRPr lang="en-GB" sz="1799"/>
          </a:p>
        </p:txBody>
      </p:sp>
      <p:grpSp>
        <p:nvGrpSpPr>
          <p:cNvPr id="21" name="Logotype, static"/>
          <p:cNvGrpSpPr/>
          <p:nvPr userDrawn="1"/>
        </p:nvGrpSpPr>
        <p:grpSpPr>
          <a:xfrm>
            <a:off x="10689466" y="6389301"/>
            <a:ext cx="863687" cy="180102"/>
            <a:chOff x="9501453" y="6148765"/>
            <a:chExt cx="2047875" cy="427037"/>
          </a:xfrm>
        </p:grpSpPr>
        <p:sp>
          <p:nvSpPr>
            <p:cNvPr id="22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3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4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5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6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7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31478" y="6375051"/>
            <a:ext cx="3960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 cap="all" baseline="0">
                <a:solidFill>
                  <a:srgbClr val="8B8A8D"/>
                </a:solidFill>
                <a:latin typeface="Nordea Sans Small" panose="00000500000000000000" pitchFamily="50" charset="0"/>
              </a:defRPr>
            </a:lvl1pPr>
          </a:lstStyle>
          <a:p>
            <a:endParaRPr lang="en-GB"/>
          </a:p>
        </p:txBody>
      </p:sp>
      <p:sp>
        <p:nvSpPr>
          <p:cNvPr id="5" name="xxLanguageTextBox">
            <a:extLst>
              <a:ext uri="{FF2B5EF4-FFF2-40B4-BE49-F238E27FC236}">
                <a16:creationId xmlns:a16="http://schemas.microsoft.com/office/drawing/2014/main" id="{612DBAD8-C389-4EAD-9D02-BEB21DE29F04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0" y="0"/>
            <a:ext cx="12703" cy="127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61" tIns="45731" rIns="91461" bIns="457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1605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  <p:sldLayoutId id="2147483764" r:id="rId7"/>
    <p:sldLayoutId id="2147483765" r:id="rId8"/>
    <p:sldLayoutId id="2147483766" r:id="rId9"/>
    <p:sldLayoutId id="2147483767" r:id="rId10"/>
    <p:sldLayoutId id="2147483768" r:id="rId11"/>
    <p:sldLayoutId id="2147483769" r:id="rId12"/>
    <p:sldLayoutId id="2147483770" r:id="rId13"/>
    <p:sldLayoutId id="2147483771" r:id="rId14"/>
    <p:sldLayoutId id="2147483772" r:id="rId15"/>
    <p:sldLayoutId id="2147483773" r:id="rId16"/>
    <p:sldLayoutId id="2147483774" r:id="rId17"/>
    <p:sldLayoutId id="2147483775" r:id="rId18"/>
    <p:sldLayoutId id="2147483776" r:id="rId19"/>
    <p:sldLayoutId id="2147483777" r:id="rId20"/>
    <p:sldLayoutId id="2147483778" r:id="rId21"/>
    <p:sldLayoutId id="2147483779" r:id="rId22"/>
    <p:sldLayoutId id="2147483780" r:id="rId23"/>
    <p:sldLayoutId id="2147483781" r:id="rId24"/>
    <p:sldLayoutId id="2147483782" r:id="rId25"/>
  </p:sldLayoutIdLst>
  <p:hf hdr="0" ftr="0" dt="0"/>
  <p:txStyles>
    <p:titleStyle>
      <a:lvl1pPr algn="l" defTabSz="1088667" rtl="0" eaLnBrk="1" latinLnBrk="0" hangingPunct="1">
        <a:spcBef>
          <a:spcPct val="0"/>
        </a:spcBef>
        <a:buNone/>
        <a:defRPr sz="1999" b="1" kern="1200">
          <a:solidFill>
            <a:schemeClr val="tx2"/>
          </a:solidFill>
          <a:latin typeface="Nordea Sans Large Black" panose="00000A00000000000000" pitchFamily="50" charset="0"/>
          <a:ea typeface="+mj-ea"/>
          <a:cs typeface="+mj-cs"/>
        </a:defRPr>
      </a:lvl1pPr>
    </p:titleStyle>
    <p:bodyStyle>
      <a:lvl1pPr marL="215465" indent="-215465" algn="l" defTabSz="1088667" rtl="0" eaLnBrk="1" latinLnBrk="0" hangingPunct="1">
        <a:spcBef>
          <a:spcPts val="1200"/>
        </a:spcBef>
        <a:buFont typeface="Arial" pitchFamily="34" charset="0"/>
        <a:buChar char="•"/>
        <a:defRPr sz="1600" kern="1200">
          <a:solidFill>
            <a:schemeClr val="tx1"/>
          </a:solidFill>
          <a:latin typeface="Nordea Sans Small" panose="00000500000000000000" pitchFamily="50" charset="0"/>
          <a:ea typeface="+mn-ea"/>
          <a:cs typeface="+mn-cs"/>
        </a:defRPr>
      </a:lvl1pPr>
      <a:lvl2pPr marL="471470" indent="-214305" algn="l" defTabSz="1088667" rtl="0" eaLnBrk="1" latinLnBrk="0" hangingPunct="1">
        <a:spcBef>
          <a:spcPts val="0"/>
        </a:spcBef>
        <a:buFont typeface="Arial" pitchFamily="34" charset="0"/>
        <a:buChar char="–"/>
        <a:defRPr sz="1200" kern="1200">
          <a:solidFill>
            <a:schemeClr val="tx1"/>
          </a:solidFill>
          <a:latin typeface="Nordea Sans Small" panose="00000500000000000000" pitchFamily="50" charset="0"/>
          <a:ea typeface="+mn-ea"/>
          <a:cs typeface="+mn-cs"/>
        </a:defRPr>
      </a:lvl2pPr>
      <a:lvl3pPr marL="728635" indent="-214305" algn="l" defTabSz="1088667" rtl="0" eaLnBrk="1" latinLnBrk="0" hangingPunct="1">
        <a:spcBef>
          <a:spcPts val="0"/>
        </a:spcBef>
        <a:buFont typeface="Arial" pitchFamily="34" charset="0"/>
        <a:buChar char="−"/>
        <a:defRPr sz="1200" kern="1200">
          <a:solidFill>
            <a:schemeClr val="tx1"/>
          </a:solidFill>
          <a:latin typeface="Nordea Sans Small" panose="00000500000000000000" pitchFamily="50" charset="0"/>
          <a:ea typeface="+mn-ea"/>
          <a:cs typeface="+mn-cs"/>
        </a:defRPr>
      </a:lvl3pPr>
      <a:lvl4pPr marL="985801" indent="-214305" algn="l" defTabSz="1088667" rtl="0" eaLnBrk="1" latinLnBrk="0" hangingPunct="1">
        <a:spcBef>
          <a:spcPts val="0"/>
        </a:spcBef>
        <a:buFont typeface="Arial" pitchFamily="34" charset="0"/>
        <a:buChar char="−"/>
        <a:defRPr sz="1200" kern="1200">
          <a:solidFill>
            <a:schemeClr val="tx1"/>
          </a:solidFill>
          <a:latin typeface="Nordea Sans Small" panose="00000500000000000000" pitchFamily="50" charset="0"/>
          <a:ea typeface="+mn-ea"/>
          <a:cs typeface="+mn-cs"/>
        </a:defRPr>
      </a:lvl4pPr>
      <a:lvl5pPr marL="1242967" indent="-214305" algn="l" defTabSz="1088667" rtl="0" eaLnBrk="1" latinLnBrk="0" hangingPunct="1">
        <a:spcBef>
          <a:spcPts val="0"/>
        </a:spcBef>
        <a:buFont typeface="Arial" pitchFamily="34" charset="0"/>
        <a:buChar char="−"/>
        <a:defRPr sz="1200" kern="1200">
          <a:solidFill>
            <a:schemeClr val="tx1"/>
          </a:solidFill>
          <a:latin typeface="Nordea Sans Small" panose="00000500000000000000" pitchFamily="50" charset="0"/>
          <a:ea typeface="+mn-ea"/>
          <a:cs typeface="+mn-cs"/>
        </a:defRPr>
      </a:lvl5pPr>
      <a:lvl6pPr marL="2993835" indent="-272166" algn="l" defTabSz="1088667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538167" indent="-272166" algn="l" defTabSz="1088667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082501" indent="-272166" algn="l" defTabSz="1088667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626835" indent="-272166" algn="l" defTabSz="1088667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8667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1pPr>
      <a:lvl2pPr marL="544334" algn="l" defTabSz="1088667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2pPr>
      <a:lvl3pPr marL="1088667" algn="l" defTabSz="1088667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3pPr>
      <a:lvl4pPr marL="1633001" algn="l" defTabSz="1088667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4pPr>
      <a:lvl5pPr marL="2177334" algn="l" defTabSz="1088667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5pPr>
      <a:lvl6pPr marL="2721667" algn="l" defTabSz="1088667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6pPr>
      <a:lvl7pPr marL="3266001" algn="l" defTabSz="1088667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7pPr>
      <a:lvl8pPr marL="3810335" algn="l" defTabSz="1088667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8pPr>
      <a:lvl9pPr marL="4354668" algn="l" defTabSz="1088667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video" Target="../media/media1.mov"/><Relationship Id="rId1" Type="http://schemas.microsoft.com/office/2007/relationships/media" Target="../media/media1.mov"/><Relationship Id="rId4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6930938A-04EF-06E4-AE9A-11AEA0B60F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A co możemy teraz ? </a:t>
            </a:r>
          </a:p>
        </p:txBody>
      </p:sp>
      <p:pic>
        <p:nvPicPr>
          <p:cNvPr id="4" name="Nagranie_selenium.mov">
            <a:hlinkClick r:id="" action="ppaction://media"/>
            <a:extLst>
              <a:ext uri="{FF2B5EF4-FFF2-40B4-BE49-F238E27FC236}">
                <a16:creationId xmlns:a16="http://schemas.microsoft.com/office/drawing/2014/main" id="{AD7F7FDC-E4EB-1080-A46A-9772E61B91CB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480814" y="1433431"/>
            <a:ext cx="11233547" cy="5060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8664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8150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G_LANGUAGETEXTBOX" val="En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G_LANGUAGETEXTBOX" val="E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ordea">
  <a:themeElements>
    <a:clrScheme name="Nordea">
      <a:dk1>
        <a:sysClr val="windowText" lastClr="000000"/>
      </a:dk1>
      <a:lt1>
        <a:sysClr val="window" lastClr="FFFFFF"/>
      </a:lt1>
      <a:dk2>
        <a:srgbClr val="00005E"/>
      </a:dk2>
      <a:lt2>
        <a:srgbClr val="0000A0"/>
      </a:lt2>
      <a:accent1>
        <a:srgbClr val="00005E"/>
      </a:accent1>
      <a:accent2>
        <a:srgbClr val="3399FF"/>
      </a:accent2>
      <a:accent3>
        <a:srgbClr val="99CCFF"/>
      </a:accent3>
      <a:accent4>
        <a:srgbClr val="FBD9CA"/>
      </a:accent4>
      <a:accent5>
        <a:srgbClr val="C9C7C7"/>
      </a:accent5>
      <a:accent6>
        <a:srgbClr val="474748"/>
      </a:accent6>
      <a:hlink>
        <a:srgbClr val="000000"/>
      </a:hlink>
      <a:folHlink>
        <a:srgbClr val="3399FF"/>
      </a:folHlink>
    </a:clrScheme>
    <a:fontScheme name="Nordea defau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rgbClr val="8B8A8D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>
            <a:solidFill>
              <a:schemeClr val="tx1"/>
            </a:solidFill>
          </a:defRPr>
        </a:defPPr>
      </a:lstStyle>
    </a:txDef>
  </a:objectDefaults>
  <a:extraClrSchemeLst/>
  <a:custClrLst>
    <a:custClr name="Nordea Deep Blue B5">
      <a:srgbClr val="00005E"/>
    </a:custClr>
    <a:custClr name="Nordea Blue B4">
      <a:srgbClr val="0000A0"/>
    </a:custClr>
    <a:custClr name="Nordea Vivid Blue B3">
      <a:srgbClr val="0000FF"/>
    </a:custClr>
    <a:custClr name="Nordea Medium Blue B2">
      <a:srgbClr val="3399FF"/>
    </a:custClr>
    <a:custClr name="Nordea Light Blue B1">
      <a:srgbClr val="99CCFF"/>
    </a:custClr>
    <a:custClr name="Nordea Dark Pink P3">
      <a:srgbClr val="F0C1AE"/>
    </a:custClr>
    <a:custClr name="Nordea Pink P2">
      <a:srgbClr val="FBD9CA"/>
    </a:custClr>
    <a:custClr name="Nordea Light Pink P1">
      <a:srgbClr val="FDECE4"/>
    </a:custClr>
    <a:custClr name="Nordea Dark Gray G4">
      <a:srgbClr val="474748"/>
    </a:custClr>
    <a:custClr name="Nordea Gray G3">
      <a:srgbClr val="8B8A8D"/>
    </a:custClr>
    <a:custClr name="Nordea Medium Gray G2">
      <a:srgbClr val="C9C7C7"/>
    </a:custClr>
    <a:custClr name="Nordea Light Gray G1">
      <a:srgbClr val="E6E4E3"/>
    </a:custClr>
    <a:custClr name="Nordea Accent Red">
      <a:srgbClr val="FF5959"/>
    </a:custClr>
    <a:custClr name="Nordea Accent Yellow">
      <a:srgbClr val="FFE183"/>
    </a:custClr>
    <a:custClr name="Nordea Accent Green">
      <a:srgbClr val="40BFA3"/>
    </a:custClr>
  </a:custClrLst>
</a:theme>
</file>

<file path=ppt/theme/theme2.xml><?xml version="1.0" encoding="utf-8"?>
<a:theme xmlns:a="http://schemas.openxmlformats.org/drawingml/2006/main" name="2_Nordea">
  <a:themeElements>
    <a:clrScheme name="Nordea">
      <a:dk1>
        <a:sysClr val="windowText" lastClr="000000"/>
      </a:dk1>
      <a:lt1>
        <a:sysClr val="window" lastClr="FFFFFF"/>
      </a:lt1>
      <a:dk2>
        <a:srgbClr val="00005E"/>
      </a:dk2>
      <a:lt2>
        <a:srgbClr val="0000A0"/>
      </a:lt2>
      <a:accent1>
        <a:srgbClr val="0000A0"/>
      </a:accent1>
      <a:accent2>
        <a:srgbClr val="3399FF"/>
      </a:accent2>
      <a:accent3>
        <a:srgbClr val="99CCFF"/>
      </a:accent3>
      <a:accent4>
        <a:srgbClr val="FBD9CA"/>
      </a:accent4>
      <a:accent5>
        <a:srgbClr val="C9C7C7"/>
      </a:accent5>
      <a:accent6>
        <a:srgbClr val="474748"/>
      </a:accent6>
      <a:hlink>
        <a:srgbClr val="000000"/>
      </a:hlink>
      <a:folHlink>
        <a:srgbClr val="3399FF"/>
      </a:folHlink>
    </a:clrScheme>
    <a:fontScheme name="Norde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rgbClr val="8B8A8D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>
            <a:solidFill>
              <a:schemeClr val="tx1"/>
            </a:solidFill>
          </a:defRPr>
        </a:defPPr>
      </a:lstStyle>
    </a:txDef>
  </a:objectDefaults>
  <a:extraClrSchemeLst/>
  <a:custClrLst>
    <a:custClr name="Nordea Deep Blue B5">
      <a:srgbClr val="00005E"/>
    </a:custClr>
    <a:custClr name="Nordea Blue B4">
      <a:srgbClr val="0000A0"/>
    </a:custClr>
    <a:custClr name="Nordea Vivid Blue B3">
      <a:srgbClr val="0000FF"/>
    </a:custClr>
    <a:custClr name="Nordea Medium Blue B2">
      <a:srgbClr val="3399FF"/>
    </a:custClr>
    <a:custClr name="Nordea Light Blue B1">
      <a:srgbClr val="99CCFF"/>
    </a:custClr>
    <a:custClr name="Nordea Dark Pink P3">
      <a:srgbClr val="F0C1AE"/>
    </a:custClr>
    <a:custClr name="Nordea Pink P2">
      <a:srgbClr val="FBD9CA"/>
    </a:custClr>
    <a:custClr name="Nordea Light Pink P1">
      <a:srgbClr val="FDECE4"/>
    </a:custClr>
    <a:custClr name="Nordea Dark Gray G4">
      <a:srgbClr val="474748"/>
    </a:custClr>
    <a:custClr name="Nordea Gray G3">
      <a:srgbClr val="8B8A8D"/>
    </a:custClr>
    <a:custClr name="Nordea Medium Gray G2">
      <a:srgbClr val="C9C7C7"/>
    </a:custClr>
    <a:custClr name="Nordea Light Gray G1">
      <a:srgbClr val="E6E4E3"/>
    </a:custClr>
    <a:custClr name="Nordea Accent Red">
      <a:srgbClr val="FF5959"/>
    </a:custClr>
    <a:custClr name="Nordea Accent Yellow">
      <a:srgbClr val="FFE183"/>
    </a:custClr>
    <a:custClr name="Nordea Accent Green">
      <a:srgbClr val="40BFA3"/>
    </a:custClr>
  </a:custClr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88</TotalTime>
  <Words>5</Words>
  <Application>Microsoft Office PowerPoint</Application>
  <PresentationFormat>Custom</PresentationFormat>
  <Paragraphs>1</Paragraphs>
  <Slides>1</Slides>
  <Notes>0</Notes>
  <HiddenSlides>0</HiddenSlides>
  <MMClips>1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Nordea Sans Large Black</vt:lpstr>
      <vt:lpstr>Nordea Sans Small</vt:lpstr>
      <vt:lpstr>Nordea</vt:lpstr>
      <vt:lpstr>2_Nordea</vt:lpstr>
      <vt:lpstr>think-cell Slide</vt:lpstr>
      <vt:lpstr>A co możemy teraz ?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mpt Engineering</dc:title>
  <dc:creator>Gajda Jakub</dc:creator>
  <cp:lastModifiedBy>Gajda Jakub</cp:lastModifiedBy>
  <cp:revision>4</cp:revision>
  <dcterms:created xsi:type="dcterms:W3CDTF">2016-03-23T08:04:09Z</dcterms:created>
  <dcterms:modified xsi:type="dcterms:W3CDTF">2024-01-29T08:52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5ec17ee5-d002-416f-a486-c5f1fad2d957_Enabled">
    <vt:lpwstr>true</vt:lpwstr>
  </property>
  <property fmtid="{D5CDD505-2E9C-101B-9397-08002B2CF9AE}" pid="3" name="MSIP_Label_5ec17ee5-d002-416f-a486-c5f1fad2d957_SetDate">
    <vt:lpwstr>2023-10-23T07:59:23Z</vt:lpwstr>
  </property>
  <property fmtid="{D5CDD505-2E9C-101B-9397-08002B2CF9AE}" pid="4" name="MSIP_Label_5ec17ee5-d002-416f-a486-c5f1fad2d957_Method">
    <vt:lpwstr>Privileged</vt:lpwstr>
  </property>
  <property fmtid="{D5CDD505-2E9C-101B-9397-08002B2CF9AE}" pid="5" name="MSIP_Label_5ec17ee5-d002-416f-a486-c5f1fad2d957_Name">
    <vt:lpwstr>Open</vt:lpwstr>
  </property>
  <property fmtid="{D5CDD505-2E9C-101B-9397-08002B2CF9AE}" pid="6" name="MSIP_Label_5ec17ee5-d002-416f-a486-c5f1fad2d957_SiteId">
    <vt:lpwstr>8beccd60-0be6-4025-8e24-ca9ae679e1f4</vt:lpwstr>
  </property>
  <property fmtid="{D5CDD505-2E9C-101B-9397-08002B2CF9AE}" pid="7" name="MSIP_Label_5ec17ee5-d002-416f-a486-c5f1fad2d957_ActionId">
    <vt:lpwstr>cc834f05-9580-4e0d-981d-6989eb507cbf</vt:lpwstr>
  </property>
  <property fmtid="{D5CDD505-2E9C-101B-9397-08002B2CF9AE}" pid="8" name="MSIP_Label_5ec17ee5-d002-416f-a486-c5f1fad2d957_ContentBits">
    <vt:lpwstr>0</vt:lpwstr>
  </property>
</Properties>
</file>